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75" r:id="rId4"/>
    <p:sldMasterId id="2147483691" r:id="rId5"/>
    <p:sldMasterId id="2147483711" r:id="rId6"/>
  </p:sldMasterIdLst>
  <p:notesMasterIdLst>
    <p:notesMasterId r:id="rId40"/>
  </p:notesMasterIdLst>
  <p:sldIdLst>
    <p:sldId id="568" r:id="rId7"/>
    <p:sldId id="556" r:id="rId8"/>
    <p:sldId id="570" r:id="rId9"/>
    <p:sldId id="578" r:id="rId10"/>
    <p:sldId id="577" r:id="rId11"/>
    <p:sldId id="573" r:id="rId12"/>
    <p:sldId id="574" r:id="rId13"/>
    <p:sldId id="575" r:id="rId14"/>
    <p:sldId id="571" r:id="rId15"/>
    <p:sldId id="579" r:id="rId16"/>
    <p:sldId id="581" r:id="rId17"/>
    <p:sldId id="584" r:id="rId18"/>
    <p:sldId id="585" r:id="rId19"/>
    <p:sldId id="606" r:id="rId20"/>
    <p:sldId id="587" r:id="rId21"/>
    <p:sldId id="569" r:id="rId22"/>
    <p:sldId id="591" r:id="rId23"/>
    <p:sldId id="592" r:id="rId24"/>
    <p:sldId id="593" r:id="rId25"/>
    <p:sldId id="594" r:id="rId26"/>
    <p:sldId id="595" r:id="rId27"/>
    <p:sldId id="589" r:id="rId28"/>
    <p:sldId id="597" r:id="rId29"/>
    <p:sldId id="590" r:id="rId30"/>
    <p:sldId id="598" r:id="rId31"/>
    <p:sldId id="599" r:id="rId32"/>
    <p:sldId id="596" r:id="rId33"/>
    <p:sldId id="602" r:id="rId34"/>
    <p:sldId id="601" r:id="rId35"/>
    <p:sldId id="604" r:id="rId36"/>
    <p:sldId id="605" r:id="rId37"/>
    <p:sldId id="600" r:id="rId38"/>
    <p:sldId id="566" r:id="rId39"/>
  </p:sldIdLst>
  <p:sldSz cx="9906000" cy="6858000" type="A4"/>
  <p:notesSz cx="9926638" cy="6797675"/>
  <p:custDataLst>
    <p:tags r:id="rId41"/>
  </p:custDataLst>
  <p:defaultTextStyle>
    <a:defPPr>
      <a:defRPr lang="de-DE"/>
    </a:defPPr>
    <a:lvl1pPr algn="l" rtl="0" eaLnBrk="0" fontAlgn="base" hangingPunct="0">
      <a:spcBef>
        <a:spcPct val="50000"/>
      </a:spcBef>
      <a:spcAft>
        <a:spcPct val="0"/>
      </a:spcAft>
      <a:buClr>
        <a:schemeClr val="accent1"/>
      </a:buClr>
      <a:buSzPct val="80000"/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50000"/>
      </a:spcBef>
      <a:spcAft>
        <a:spcPct val="0"/>
      </a:spcAft>
      <a:buClr>
        <a:schemeClr val="accent1"/>
      </a:buClr>
      <a:buSzPct val="80000"/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50000"/>
      </a:spcBef>
      <a:spcAft>
        <a:spcPct val="0"/>
      </a:spcAft>
      <a:buClr>
        <a:schemeClr val="accent1"/>
      </a:buClr>
      <a:buSzPct val="80000"/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50000"/>
      </a:spcBef>
      <a:spcAft>
        <a:spcPct val="0"/>
      </a:spcAft>
      <a:buClr>
        <a:schemeClr val="accent1"/>
      </a:buClr>
      <a:buSzPct val="80000"/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50000"/>
      </a:spcBef>
      <a:spcAft>
        <a:spcPct val="0"/>
      </a:spcAft>
      <a:buClr>
        <a:schemeClr val="accent1"/>
      </a:buClr>
      <a:buSzPct val="80000"/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apértelmezett szakasz" id="{C69FA613-7804-416B-8836-CBC061F7C782}">
          <p14:sldIdLst>
            <p14:sldId id="568"/>
            <p14:sldId id="556"/>
            <p14:sldId id="570"/>
            <p14:sldId id="578"/>
            <p14:sldId id="577"/>
            <p14:sldId id="573"/>
            <p14:sldId id="574"/>
            <p14:sldId id="575"/>
            <p14:sldId id="571"/>
            <p14:sldId id="579"/>
            <p14:sldId id="581"/>
            <p14:sldId id="584"/>
            <p14:sldId id="585"/>
            <p14:sldId id="606"/>
            <p14:sldId id="587"/>
            <p14:sldId id="569"/>
            <p14:sldId id="591"/>
            <p14:sldId id="592"/>
            <p14:sldId id="593"/>
            <p14:sldId id="594"/>
            <p14:sldId id="595"/>
            <p14:sldId id="589"/>
            <p14:sldId id="597"/>
            <p14:sldId id="590"/>
            <p14:sldId id="598"/>
            <p14:sldId id="599"/>
            <p14:sldId id="596"/>
            <p14:sldId id="602"/>
            <p14:sldId id="601"/>
            <p14:sldId id="604"/>
            <p14:sldId id="605"/>
            <p14:sldId id="600"/>
            <p14:sldId id="5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orient="horz" pos="2387">
          <p15:clr>
            <a:srgbClr val="A4A3A4"/>
          </p15:clr>
        </p15:guide>
        <p15:guide id="3" pos="3123">
          <p15:clr>
            <a:srgbClr val="A4A3A4"/>
          </p15:clr>
        </p15:guide>
        <p15:guide id="4" pos="145">
          <p15:clr>
            <a:srgbClr val="A4A3A4"/>
          </p15:clr>
        </p15:guide>
        <p15:guide id="5" pos="6095">
          <p15:clr>
            <a:srgbClr val="A4A3A4"/>
          </p15:clr>
        </p15:guide>
        <p15:guide id="6" pos="215">
          <p15:clr>
            <a:srgbClr val="A4A3A4"/>
          </p15:clr>
        </p15:guide>
        <p15:guide id="7" pos="311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0" userDrawn="1">
          <p15:clr>
            <a:srgbClr val="A4A3A4"/>
          </p15:clr>
        </p15:guide>
        <p15:guide id="2" pos="312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dadi-Fülöp Csaba" initials="VFCS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D7D31"/>
    <a:srgbClr val="7373FF"/>
    <a:srgbClr val="0000FD"/>
    <a:srgbClr val="4E4FFE"/>
    <a:srgbClr val="8D8BEE"/>
    <a:srgbClr val="F2F2F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A04B12-C4D2-0E42-BB69-5652A2D77672}" v="2" dt="2023-12-06T13:17:09.7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Közepesen sötét stílus 2 – 3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Világos stílus 1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94" autoAdjust="0"/>
    <p:restoredTop sz="73117" autoAdjust="0"/>
  </p:normalViewPr>
  <p:slideViewPr>
    <p:cSldViewPr snapToGrid="0">
      <p:cViewPr varScale="1">
        <p:scale>
          <a:sx n="75" d="100"/>
          <a:sy n="75" d="100"/>
        </p:scale>
        <p:origin x="741" y="27"/>
      </p:cViewPr>
      <p:guideLst>
        <p:guide orient="horz" pos="3974"/>
        <p:guide orient="horz" pos="2387"/>
        <p:guide pos="3123"/>
        <p:guide pos="145"/>
        <p:guide pos="6095"/>
        <p:guide pos="215"/>
        <p:guide pos="31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1958" y="48"/>
      </p:cViewPr>
      <p:guideLst>
        <p:guide orient="horz" pos="214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saba Vadadi-Fülöp" userId="6b797cb28b6ca902" providerId="LiveId" clId="{8EA04B12-C4D2-0E42-BB69-5652A2D77672}"/>
    <pc:docChg chg="modSld">
      <pc:chgData name="Csaba Vadadi-Fülöp" userId="6b797cb28b6ca902" providerId="LiveId" clId="{8EA04B12-C4D2-0E42-BB69-5652A2D77672}" dt="2023-12-06T13:21:23.949" v="17" actId="1076"/>
      <pc:docMkLst>
        <pc:docMk/>
      </pc:docMkLst>
      <pc:sldChg chg="modSp mod">
        <pc:chgData name="Csaba Vadadi-Fülöp" userId="6b797cb28b6ca902" providerId="LiveId" clId="{8EA04B12-C4D2-0E42-BB69-5652A2D77672}" dt="2023-12-06T13:21:23.949" v="17" actId="1076"/>
        <pc:sldMkLst>
          <pc:docMk/>
          <pc:sldMk cId="1397973618" sldId="567"/>
        </pc:sldMkLst>
        <pc:spChg chg="mod">
          <ac:chgData name="Csaba Vadadi-Fülöp" userId="6b797cb28b6ca902" providerId="LiveId" clId="{8EA04B12-C4D2-0E42-BB69-5652A2D77672}" dt="2023-12-06T13:20:53.720" v="7" actId="20577"/>
          <ac:spMkLst>
            <pc:docMk/>
            <pc:sldMk cId="1397973618" sldId="567"/>
            <ac:spMk id="12291" creationId="{00000000-0000-0000-0000-000000000000}"/>
          </ac:spMkLst>
        </pc:spChg>
        <pc:spChg chg="mod">
          <ac:chgData name="Csaba Vadadi-Fülöp" userId="6b797cb28b6ca902" providerId="LiveId" clId="{8EA04B12-C4D2-0E42-BB69-5652A2D77672}" dt="2023-12-06T13:20:57.632" v="15" actId="20577"/>
          <ac:spMkLst>
            <pc:docMk/>
            <pc:sldMk cId="1397973618" sldId="567"/>
            <ac:spMk id="12292" creationId="{00000000-0000-0000-0000-000000000000}"/>
          </ac:spMkLst>
        </pc:spChg>
        <pc:picChg chg="mod">
          <ac:chgData name="Csaba Vadadi-Fülöp" userId="6b797cb28b6ca902" providerId="LiveId" clId="{8EA04B12-C4D2-0E42-BB69-5652A2D77672}" dt="2023-12-06T13:21:23.949" v="17" actId="1076"/>
          <ac:picMkLst>
            <pc:docMk/>
            <pc:sldMk cId="1397973618" sldId="567"/>
            <ac:picMk id="4" creationId="{00000000-0000-0000-0000-000000000000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28.31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921 1586 24575,'13'-8'0,"0"0"0,-1 0 0,0-1 0,-1-1 0,0 0 0,-1 0 0,0-1 0,0 0 0,-1-1 0,0 0 0,-1 0 0,-1-1 0,0 0 0,-1-1 0,6-16 0,31-55 0,-33 70 0,-2 0 0,0-1 0,-1 0 0,0 0 0,-1-1 0,5-25 0,-5-14 0,-3 1 0,-5-81 0,-1 27 0,1 92 0,-1 0 0,0 1 0,-1 0 0,-1-1 0,0 2 0,-2-1 0,0 1 0,0-1 0,-1 2 0,-11-15 0,-21-47 0,20 41 0,-1 2 0,-2 0 0,-1 1 0,-2 1 0,-49-46 0,51 51 0,-13-11 0,-2 2 0,-1 1 0,-73-47 0,111 80 0,-12-8 0,1 0 0,-1 1 0,-1 0 0,1 1 0,-1 1 0,0 0 0,-1 1 0,1 1 0,-21-4 0,-44-4 0,54 7 0,0 1 0,-32-1 0,-31 4 0,-134 4 0,203 0 0,0 1 0,1 1 0,-1 1 0,-27 12 0,23-8 0,-47 11 0,-53-1 0,-20 4 0,128-21 0,1 2 0,-1-1 0,1 2 0,-1 0 0,2 1 0,-1 0 0,1 2 0,0-1 0,-14 13 0,2 0 0,2 2 0,-24 27 0,8-16 0,33-29 0,0 0 0,0 1 0,1 0 0,-1 0 0,-7 11 0,-1 2 0,1 1 0,1 1 0,1 0 0,1 1 0,1 0 0,0 1 0,2 0 0,1 0 0,1 0 0,1 1 0,1 0 0,-2 46 0,4 60 0,6 147 0,-1-262 0,0-1 0,1 1 0,1-1 0,0-1 0,1 1 0,1-1 0,13 21 0,15 34 0,-27-53 0,0-1 0,1 0 0,1 0 0,0-1 0,15 16 0,18 23 0,-36-44 0,1 1 0,0-1 0,1-1 0,18 14 0,10 7 0,-25-16 0,13 12 0,1-2 0,0 0 0,1-2 0,2 0 0,41 20 0,-9-10 0,-25-12 0,1-1 0,59 18 0,-38-18 0,-33-8 0,0-2 0,0-1 0,0-1 0,1-1 0,30 0 0,-40-4 0,15 2 0,-1-2 0,0-2 0,0 0 0,0-2 0,0-2 0,49-14 0,89-31 0,-147 45 0,123-18 0,24 1 0,-119 15 0,-37 7 0,1-1 0,-1 0 0,0-1 0,-1 0 0,1 0 0,0-2 0,10-4 0,-20 7 7,0 0 0,0 1 0,0-1 0,0 0 0,0 0 0,-1 0 0,1 0 0,0 0 0,-1 0 0,0 0 0,0-1 0,0 1-1,0 0 1,0-1 0,0 1 0,1-5 0,2-42-1429,-4 48 1361,-1-19-67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48.793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3216 1084 24575,'0'-23'0,"0"-12"0,-6-54 0,4 76 0,-1-1 0,0 1 0,-1 0 0,-1 0 0,0 0 0,0 1 0,-10-16 0,-80-114 0,65 95 0,-14-18 0,3 16 0,12 12 0,-39-36 0,-14-11 0,47 49 0,28 27 0,-1 0 0,0 0 0,-1 1 0,-16-12 0,-7 0 0,5 1 0,-1 2 0,-1 1 0,0 1 0,-40-12 0,30 15 0,-1 1 0,-67-27 0,90 31 0,-1 0 0,1 2 0,-1 0 0,-21-2 0,-2 0 0,-114-18 0,113 18 0,-1 1 0,-1 3 0,-79 4 0,25 1 0,-26-5 0,-134 5 0,244-3 0,1 2 0,0 0 0,0 0 0,0 1 0,1 1 0,-1 0 0,1 1 0,0 0 0,0 1 0,0 0 0,1 1 0,-15 11 0,14-7 0,-2-2 0,1 1 0,-28 13 0,-4 2 0,-181 125 0,198-130 0,1 0 0,-41 39 0,-16 14 0,60-54 0,0 2 0,1 0 0,2 2 0,0 0 0,-25 38 0,11-7 0,-44 93 0,62-112 0,-7 15 0,-22 62 0,21-42 0,10-29 0,1 0 0,-13 70 0,3 32 0,20-123 0,0-1 0,-11 32 0,9-35 0,1 0 0,1 1 0,0-1 0,-1 22 0,1 41 0,9 105 0,-2-166 0,1-1 0,0 0 0,1-1 0,1 1 0,1-1 0,0 0 0,1-1 0,1 0 0,0 0 0,1-1 0,1 0 0,0 0 0,1-1 0,19 17 0,32 44 0,-5-5 0,-45-55 0,27 27 0,2-1 0,51 36 0,-50-45 0,-2-1 0,2-1 0,64 32 0,114 46 0,-209-101 0,1-2 0,0 1 0,1-2 0,-1 0 0,1 0 0,16 0 0,24 5 0,-6-1 0,2-3 0,-1-1 0,72-6 0,-14 0 0,1 5 0,118-5 0,-206 0 0,0 0 0,37-14 0,-37 11 0,-1 0 0,37-5 0,-16 5 0,63-17 0,-29 5 0,-62 14 0,-1 1 0,0-2 0,0 0 0,0 0 0,15-11 0,38-16 0,-26 16 0,-1-1 0,-1-1 0,56-40 0,28-38 0,-82 65 0,0-3 0,42-48 0,-17 17 0,56-80 0,-106 129 0,0-1 0,-2 0 0,0 0 0,-1-1 0,-1-1 0,0 1 0,8-30 0,-2-3 0,-2 0 0,-2-1 0,6-73 0,-17 108 0,1-1 0,1 1 0,0 1 0,1-1 0,1 0 0,0 1 0,12-27 0,-11 30 0,-1-2 0,0 1 0,-1 0 0,-1-1 0,0 1 0,0-24 0,7-47 0,11-14-1365,-15 83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52.12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5129 2 24575,'-17'0'0,"-14"-2"0,-1 3 0,1 0 0,-1 2 0,1 1 0,-56 16 0,43 0 0,-12 3 0,-31 0 0,-141 57 0,146-53 0,66-23 0,0 1 0,0 0 0,0 1 0,1 1 0,-1 0 0,-24 17 0,25-14 0,-1-1 0,0 0 0,-1-1 0,0-1 0,-32 9 0,25-8 0,1 0 0,-34 18 0,34-15 0,0-1 0,-1 0 0,-35 7 0,32-9 0,1 0 0,-41 20 0,-85 39 0,12-5 0,62-33 0,58-22 0,0 0 0,-25 12 0,6 0 0,-1-2 0,-68 21 0,92-32 0,0 1 0,0 1 0,0 0 0,-17 13 0,-34 18 0,-35 15 0,66-34 0,-64 28 0,73-36 0,1 2 0,0 0 0,-42 33 0,31-21 0,-38 24 0,-87 64 0,30 1 0,45-39 0,-92 100 0,93-87 0,24-13 0,18-20 0,-72 94 0,50-32 0,3-6 0,-79 129 0,113-178 0,-11 20 0,14-35 0,2 0 0,-21 63 0,-8 16 0,26-54 0,21-53 0,-1 1 0,-17 29 0,12-23 0,1 0 0,1 0 0,-11 44 0,-5 18 0,-52 169 0,75-245 0,0 1 0,-1 0 0,-1 1 0,0-2 0,-12 24 0,6-13 0,1 0 0,1 1 0,-10 46 0,9-34 0,-13 45 0,-58 134 0,16-84 0,57-112 0,-7 16 0,-1-1 0,-23 35 0,32-58 0,1 1 0,0-1 0,-5 20 0,7-21 0,0 0 0,0 0 0,-1 0 0,-1 0 0,-9 13 0,5-9 0,1 1 0,0 0 0,1 0 0,1 1 0,1 0 0,-5 19 0,6-19 0,0 0 0,-1-1 0,-1 0 0,0 0 0,-1-1 0,-13 19 0,7-14 0,1 0 0,1 2 0,-17 40 0,-10 19 0,23-50 0,-15 45 0,19-44 0,-25 45 0,23-49 0,1 1 0,2 0 0,-8 32 0,-22 53 0,33-95 11,1 1-1,1 0 0,1 0 0,0 0 1,-2 39-1,5 107-404,3-99-639,-1-46-579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53.39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1'5'0,"0"1"0,1-1 0,0 1 0,0-1 0,1 0 0,-1 0 0,1 0 0,0 0 0,0-1 0,1 1 0,0-1 0,4 5 0,17 25 0,1 19 0,-19-37 0,1-1 0,0 1 0,1-1 0,1-1 0,20 25 0,40 53 0,-53-73 0,-12-13 0,0 0 0,0 0 0,1 0 0,0-1 0,10 7 0,-13-10 0,0-1 0,1 1 0,-1-1 0,0 0 0,0 0 0,1 0 0,-1-1 0,1 1 0,-1-1 0,1 0 0,-1 0 0,0 0 0,1 0 0,-1-1 0,1 1 0,5-2 0,6-4 0,0 0 0,0-1 0,-1 0 0,0-1 0,0-1 0,-1 0 0,0-1 0,21-21 0,-13 13 0,43-29 0,-36 27-227,0-1-1,-1-1 1,-2-1-1,0-2 1,28-36-1,-44 50-6598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55.753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73 24575,'5'1'0,"1"0"0,0 0 0,0 0 0,-1 1 0,1 0 0,-1 0 0,0 0 0,0 1 0,9 5 0,-8-4 0,1 0 0,-1-1 0,1 0 0,0 0 0,0-1 0,11 3 0,1-2 0,0-1 0,0-1 0,1-1 0,-1 0 0,33-5 0,-48 4 0,1 0 0,-1 0 0,0 0 0,1 0 0,-1-1 0,0 0 0,0 0 0,0 0 0,0 0 0,0 0 0,0-1 0,-1 0 0,1 0 0,-1 0 0,0 0 0,0 0 0,0-1 0,0 1 0,-1-1 0,1 0 0,-1 0 0,0 0 0,0 0 0,0 0 0,-1 0 0,1-1 0,-1 1 0,0 0 0,0-9 0,1 5 0,-2 0 0,1 0 0,-1 0 0,0 0 0,-1-1 0,0 1 0,0 0 0,-4-10 0,4 16 0,0-1 0,-1 0 0,1 1 0,-1 0 0,1-1 0,-1 1 0,0 0 0,0 0 0,0 0 0,-1 0 0,1 0 0,0 0 0,-1 1 0,1-1 0,-1 1 0,1 0 0,-1-1 0,0 1 0,0 1 0,1-1 0,-1 0 0,0 1 0,0-1 0,0 1 0,0 0 0,-3 0 0,-3-1 0,-1 0 0,1 1 0,-1 1 0,1-1 0,-1 1 0,1 1 0,0 0 0,-16 5 0,20-4 0,1-1 0,-1 1 0,0 0 0,1 1 0,-1-1 0,1 1 0,0-1 0,0 1 0,1 1 0,-1-1 0,1 0 0,0 1 0,0 0 0,0 0 0,-4 9 0,0 7 0,0 1 0,2-1 0,0 1 0,1 0 0,1 0 0,2 1 0,0-1 0,1 0 0,5 39 0,-5-56 0,1 1 0,0 0 0,0 0 0,1-1 0,-1 1 0,1-1 0,0 1 0,1-1 0,-1 0 0,1 0 0,0 0 0,0 0 0,1 0 0,0-1 0,-1 1 0,1-1 0,1 0 0,-1 0 0,1-1 0,-1 1 0,1-1 0,9 4 0,2 0 0,0-1 0,1-1 0,0-1 0,0 0 0,0-1 0,22 0 0,60 17-1365,-80-18-546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56.696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4'0'0,"6"0"0,4 0 0,5 0 0,3 0 0,2 0 0,0 0 0,1 0 0,0 0 0,0 0 0,-1 0 0,1 0 0,-5 4 0,-1 1 0,-1 1 0,-2-2-819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4:59.22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18 24575,'57'1'0,"-1"0"0,0-2 0,88-14 0,33-10 0,-149 20 0,1 2 0,0 0 0,40 3 0,-40 0 0,0 0 0,-1-2 0,42-8 0,-28 4 0,-1 1 0,1 2 0,0 2 0,45 4 0,10 0 0,1508-3 0,-1581-2 23,1-1 0,-1 0 0,47-15 0,5 0-1480,-58 15-5369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4T12:25:00.593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32 1 24575,'3'1'0,"1"1"0,-1-1 0,1 1 0,-1 0 0,1 0 0,-1 1 0,0-1 0,0 1 0,0-1 0,-1 1 0,1 0 0,-1 0 0,1 0 0,-1 1 0,0-1 0,3 6 0,8 10 0,216 220 0,-181-191 0,-35-36 0,1-2 0,0 0 0,1 0 0,0-1 0,32 12 0,-35-15 0,-12-6 0,1 1 0,0-1 0,0 1 0,-1-1 0,1 1 0,0 0 0,-1-1 0,1 1 0,-1 0 0,1-1 0,-1 1 0,1 0 0,-1 0 0,1 0 0,-1-1 0,0 1 0,1 0 0,-1 0 0,0 0 0,0 0 0,0 0 0,1-1 0,-1 1 0,0 0 0,0 0 0,-1 0 0,1 0 0,0 0 0,0 0 0,0 0 0,0-1 0,-1 1 0,1 0 0,0 0 0,-1 0 0,1 0 0,-1-1 0,0 2 0,-25 36 0,18-27 0,-2 2 0,-1 0 0,0-2 0,0 1 0,-1-1 0,-1-1 0,-20 13 0,-23 20 0,42-30 0,0-1 0,0-1 0,-2 0 0,1-1 0,-1-1 0,-1 0 0,-24 8 0,30-11-8,-1 0 0,1 1 0,0 0 0,1 0 0,-1 1 0,2 0 0,-1 1 0,1 0 0,0 1 0,1 0 0,-8 12 0,-18 20-1261,24-32-555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125" cy="341422"/>
          </a:xfrm>
          <a:prstGeom prst="rect">
            <a:avLst/>
          </a:prstGeom>
        </p:spPr>
        <p:txBody>
          <a:bodyPr vert="horz" lIns="92138" tIns="46069" rIns="92138" bIns="46069" rtlCol="0"/>
          <a:lstStyle>
            <a:lvl1pPr algn="l" eaLnBrk="0">
              <a:defRPr sz="1300"/>
            </a:lvl1pPr>
          </a:lstStyle>
          <a:p>
            <a:endParaRPr lang="en-GB" dirty="0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5622926" y="0"/>
            <a:ext cx="4302125" cy="341422"/>
          </a:xfrm>
          <a:prstGeom prst="rect">
            <a:avLst/>
          </a:prstGeom>
        </p:spPr>
        <p:txBody>
          <a:bodyPr vert="horz" lIns="92138" tIns="46069" rIns="92138" bIns="46069" rtlCol="0"/>
          <a:lstStyle>
            <a:lvl1pPr algn="r">
              <a:defRPr sz="1300"/>
            </a:lvl1pPr>
          </a:lstStyle>
          <a:p>
            <a:fld id="{846FB759-C3A4-44C1-9855-3AEDE5CBAD06}" type="datetimeFigureOut">
              <a:rPr lang="en-GB" smtClean="0"/>
              <a:t>07/03/2024</a:t>
            </a:fld>
            <a:endParaRPr lang="en-GB" dirty="0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3306763" y="849313"/>
            <a:ext cx="3313112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38" tIns="46069" rIns="92138" bIns="46069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992188" y="3271817"/>
            <a:ext cx="7942262" cy="2676351"/>
          </a:xfrm>
          <a:prstGeom prst="rect">
            <a:avLst/>
          </a:prstGeom>
        </p:spPr>
        <p:txBody>
          <a:bodyPr vert="horz" lIns="92138" tIns="46069" rIns="92138" bIns="46069" rtlCol="0"/>
          <a:lstStyle/>
          <a:p>
            <a:pPr lvl="0"/>
            <a:r>
              <a:rPr lang="en-GB" dirty="0" err="1"/>
              <a:t>Mintaszöveg</a:t>
            </a:r>
            <a:r>
              <a:rPr lang="en-GB" dirty="0"/>
              <a:t> </a:t>
            </a:r>
            <a:r>
              <a:rPr lang="en-GB" dirty="0" err="1"/>
              <a:t>szerkesztése</a:t>
            </a:r>
            <a:endParaRPr lang="en-GB" dirty="0"/>
          </a:p>
          <a:p>
            <a:pPr lvl="1"/>
            <a:r>
              <a:rPr lang="en-GB" dirty="0" err="1"/>
              <a:t>Máso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2"/>
            <a:r>
              <a:rPr lang="en-GB" dirty="0" err="1"/>
              <a:t>Harma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3"/>
            <a:r>
              <a:rPr lang="en-GB" dirty="0" err="1"/>
              <a:t>Negye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4"/>
            <a:r>
              <a:rPr lang="en-GB" dirty="0" err="1"/>
              <a:t>Ötö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1" y="6456255"/>
            <a:ext cx="4302125" cy="341422"/>
          </a:xfrm>
          <a:prstGeom prst="rect">
            <a:avLst/>
          </a:prstGeom>
        </p:spPr>
        <p:txBody>
          <a:bodyPr vert="horz" lIns="92138" tIns="46069" rIns="92138" bIns="46069" rtlCol="0" anchor="b"/>
          <a:lstStyle>
            <a:lvl1pPr algn="l" eaLnBrk="0">
              <a:defRPr sz="1300"/>
            </a:lvl1pPr>
          </a:lstStyle>
          <a:p>
            <a:endParaRPr lang="en-GB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5622926" y="6456255"/>
            <a:ext cx="4302125" cy="341422"/>
          </a:xfrm>
          <a:prstGeom prst="rect">
            <a:avLst/>
          </a:prstGeom>
        </p:spPr>
        <p:txBody>
          <a:bodyPr vert="horz" lIns="92138" tIns="46069" rIns="92138" bIns="46069" rtlCol="0" anchor="b"/>
          <a:lstStyle>
            <a:lvl1pPr algn="r">
              <a:defRPr sz="1300"/>
            </a:lvl1pPr>
          </a:lstStyle>
          <a:p>
            <a:fld id="{099AB1A7-780D-4041-8026-ADECAA00921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766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1pPr>
            <a:lvl2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2pPr>
            <a:lvl3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3pPr>
            <a:lvl4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4pPr>
            <a:lvl5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9pPr>
          </a:lstStyle>
          <a:p>
            <a:pPr>
              <a:lnSpc>
                <a:spcPct val="93000"/>
              </a:lnSpc>
            </a:pPr>
            <a:fld id="{F8F0B41C-9057-4FF2-B57F-72DE3AA02B74}" type="slidenum">
              <a:rPr lang="en-IE" altLang="hu-HU">
                <a:solidFill>
                  <a:srgbClr val="000000"/>
                </a:solidFill>
                <a:latin typeface="Times New Roman" pitchFamily="16" charset="0"/>
              </a:rPr>
              <a:pPr>
                <a:lnSpc>
                  <a:spcPct val="93000"/>
                </a:lnSpc>
              </a:pPr>
              <a:t>1</a:t>
            </a:fld>
            <a:endParaRPr lang="en-IE" altLang="hu-HU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1331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2613" y="517525"/>
            <a:ext cx="3678237" cy="25479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92248" y="3228769"/>
            <a:ext cx="7942144" cy="3059206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2118274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1pPr>
            <a:lvl2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2pPr>
            <a:lvl3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3pPr>
            <a:lvl4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4pPr>
            <a:lvl5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9pPr>
          </a:lstStyle>
          <a:p>
            <a:pPr>
              <a:lnSpc>
                <a:spcPct val="93000"/>
              </a:lnSpc>
            </a:pPr>
            <a:fld id="{1F0C24F9-3891-4589-B86D-F9F1BCA94041}" type="slidenum">
              <a:rPr lang="en-IE" altLang="hu-HU">
                <a:solidFill>
                  <a:srgbClr val="000000"/>
                </a:solidFill>
                <a:latin typeface="Times New Roman" pitchFamily="16" charset="0"/>
              </a:rPr>
              <a:pPr>
                <a:lnSpc>
                  <a:spcPct val="93000"/>
                </a:lnSpc>
              </a:pPr>
              <a:t>33</a:t>
            </a:fld>
            <a:endParaRPr lang="en-IE" altLang="hu-HU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2150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2613" y="517525"/>
            <a:ext cx="3678237" cy="25479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150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92248" y="3228769"/>
            <a:ext cx="7942144" cy="3059206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 alt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7.w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5" Type="http://schemas.openxmlformats.org/officeDocument/2006/relationships/image" Target="../media/image7.wmf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885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4" imgH="245" progId="TCLayout.ActiveDocument.1">
                  <p:embed/>
                </p:oleObj>
              </mc:Choice>
              <mc:Fallback>
                <p:oleObj name="think-cell Slide" r:id="rId3" imgW="244" imgH="24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109569" y="3617123"/>
            <a:ext cx="5686863" cy="711200"/>
          </a:xfrm>
        </p:spPr>
        <p:txBody>
          <a:bodyPr/>
          <a:lstStyle>
            <a:lvl1pPr eaLnBrk="1">
              <a:defRPr baseline="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arallelogramm 13"/>
          <p:cNvSpPr/>
          <p:nvPr/>
        </p:nvSpPr>
        <p:spPr bwMode="auto">
          <a:xfrm>
            <a:off x="2109569" y="4504723"/>
            <a:ext cx="5686864" cy="360000"/>
          </a:xfrm>
          <a:prstGeom prst="rect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41389" y="4535239"/>
            <a:ext cx="65" cy="276999"/>
          </a:xfrm>
        </p:spPr>
        <p:txBody>
          <a:bodyPr wrap="none" anchor="ctr"/>
          <a:lstStyle>
            <a:lvl1pPr eaLnBrk="1">
              <a:defRPr sz="1800" b="1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2" name="Picture 2" descr="Image result for mta ttk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64" r="24171" b="6064"/>
          <a:stretch/>
        </p:blipFill>
        <p:spPr bwMode="auto">
          <a:xfrm>
            <a:off x="4316280" y="396280"/>
            <a:ext cx="1273441" cy="1692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1"/>
          <p:cNvGrpSpPr/>
          <p:nvPr/>
        </p:nvGrpSpPr>
        <p:grpSpPr>
          <a:xfrm>
            <a:off x="223838" y="3180747"/>
            <a:ext cx="4531043" cy="1200879"/>
            <a:chOff x="2456315" y="3803536"/>
            <a:chExt cx="4718135" cy="775726"/>
          </a:xfrm>
        </p:grpSpPr>
        <p:sp>
          <p:nvSpPr>
            <p:cNvPr id="7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30441"/>
              <a:ext cx="2973711" cy="34882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GB" sz="3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</a:pPr>
              <a:r>
                <a:rPr lang="en-GB" sz="3600" b="0" noProof="0" dirty="0">
                  <a:solidFill>
                    <a:schemeClr val="accent1"/>
                  </a:solidFill>
                  <a:latin typeface="Corporate E Demi" pitchFamily="2" charset="0"/>
                </a:rPr>
                <a:t>Steering</a:t>
              </a:r>
              <a:r>
                <a:rPr lang="en-GB" sz="3600" b="0" dirty="0">
                  <a:solidFill>
                    <a:schemeClr val="accent1"/>
                  </a:solidFill>
                  <a:latin typeface="Corporate E Demi" pitchFamily="2" charset="0"/>
                </a:rPr>
                <a:t> Business</a:t>
              </a:r>
            </a:p>
          </p:txBody>
        </p:sp>
        <p:sp>
          <p:nvSpPr>
            <p:cNvPr id="9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</a:pPr>
              <a:r>
                <a:rPr lang="en-GB" sz="3600" b="0" noProof="0" dirty="0">
                  <a:solidFill>
                    <a:schemeClr val="bg1"/>
                  </a:solidFill>
                  <a:latin typeface="Corporate E" pitchFamily="2" charset="0"/>
                </a:rPr>
                <a:t>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0048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23935"/>
            <a:ext cx="4239175" cy="221909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3240194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3810616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94521" y="273629"/>
            <a:ext cx="8912280" cy="1143480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544982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959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7643" y="5027458"/>
            <a:ext cx="2971800" cy="369332"/>
          </a:xfrm>
        </p:spPr>
        <p:txBody>
          <a:bodyPr anchor="t"/>
          <a:lstStyle>
            <a:lvl1pPr algn="l" defTabSz="857250" rtl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1200" b="1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Author/Presenter</a:t>
            </a:r>
            <a:br>
              <a:rPr lang="en-GB" noProof="0" dirty="0"/>
            </a:br>
            <a:r>
              <a:rPr lang="en-GB" noProof="0" dirty="0"/>
              <a:t>(Title) First Name Last Nam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37643" y="3617123"/>
            <a:ext cx="5686863" cy="7112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14" name="Parallelogramm 13"/>
          <p:cNvSpPr/>
          <p:nvPr/>
        </p:nvSpPr>
        <p:spPr bwMode="auto">
          <a:xfrm>
            <a:off x="216107" y="4504723"/>
            <a:ext cx="5794633" cy="360000"/>
          </a:xfrm>
          <a:prstGeom prst="parallelogram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>
              <a:buClr>
                <a:srgbClr val="008CC8"/>
              </a:buClr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7642" y="4535239"/>
            <a:ext cx="3526606" cy="276999"/>
          </a:xfrm>
        </p:spPr>
        <p:txBody>
          <a:bodyPr wrap="none" anchor="ctr"/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additional key word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37643" y="6119256"/>
            <a:ext cx="2968625" cy="184666"/>
          </a:xfrm>
        </p:spPr>
        <p:txBody>
          <a:bodyPr/>
          <a:lstStyle>
            <a:lvl1pPr algn="l" defTabSz="857250" rtl="0" eaLnBrk="0" fontAlgn="base" hangingPunct="0"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defRPr lang="de-DE" sz="1200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Location, Date [Month </a:t>
            </a:r>
            <a:r>
              <a:rPr lang="en-GB" noProof="0" dirty="0" err="1"/>
              <a:t>dd</a:t>
            </a:r>
            <a:r>
              <a:rPr lang="en-GB" noProof="0" dirty="0"/>
              <a:t>, YYYY]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41313" y="2386799"/>
            <a:ext cx="1440000" cy="492443"/>
          </a:xfrm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on symbol  to add pictu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2608" y="370132"/>
            <a:ext cx="3096389" cy="506165"/>
          </a:xfrm>
          <a:prstGeom prst="rect">
            <a:avLst/>
          </a:prstGeom>
        </p:spPr>
      </p:pic>
      <p:sp>
        <p:nvSpPr>
          <p:cNvPr id="19" name="Rectangle 20"/>
          <p:cNvSpPr>
            <a:spLocks noChangeArrowheads="1"/>
          </p:cNvSpPr>
          <p:nvPr userDrawn="1"/>
        </p:nvSpPr>
        <p:spPr bwMode="auto">
          <a:xfrm>
            <a:off x="7789985" y="6624638"/>
            <a:ext cx="18921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sz="1000" dirty="0">
                <a:solidFill>
                  <a:srgbClr val="008CC8"/>
                </a:solidFill>
              </a:rPr>
              <a:t>© IFUA Horváth &amp; Partners</a:t>
            </a:r>
          </a:p>
        </p:txBody>
      </p:sp>
    </p:spTree>
    <p:extLst>
      <p:ext uri="{BB962C8B-B14F-4D97-AF65-F5344CB8AC3E}">
        <p14:creationId xmlns:p14="http://schemas.microsoft.com/office/powerpoint/2010/main" val="2346021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653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47700" y="6624638"/>
            <a:ext cx="65" cy="153888"/>
          </a:xfrm>
        </p:spPr>
        <p:txBody>
          <a:bodyPr/>
          <a:lstStyle>
            <a:lvl1pPr eaLnBrk="0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22436" y="3082821"/>
            <a:ext cx="8953377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en-GB" noProof="0" dirty="0" err="1"/>
              <a:t>Mintaszöveg</a:t>
            </a:r>
            <a:r>
              <a:rPr lang="en-GB" noProof="0" dirty="0"/>
              <a:t> </a:t>
            </a:r>
            <a:r>
              <a:rPr lang="en-GB" noProof="0" dirty="0" err="1"/>
              <a:t>szerkesztése</a:t>
            </a:r>
            <a:endParaRPr lang="en-GB" noProof="0" dirty="0"/>
          </a:p>
          <a:p>
            <a:pPr lvl="1"/>
            <a:r>
              <a:rPr lang="en-GB" noProof="0" dirty="0" err="1"/>
              <a:t>Második</a:t>
            </a:r>
            <a:r>
              <a:rPr lang="en-GB" noProof="0" dirty="0"/>
              <a:t> </a:t>
            </a:r>
            <a:r>
              <a:rPr lang="en-GB" noProof="0" dirty="0" err="1"/>
              <a:t>szint</a:t>
            </a:r>
            <a:endParaRPr lang="en-GB" noProof="0" dirty="0"/>
          </a:p>
          <a:p>
            <a:pPr lvl="2"/>
            <a:r>
              <a:rPr lang="en-GB" noProof="0" dirty="0" err="1"/>
              <a:t>Harmadik</a:t>
            </a:r>
            <a:r>
              <a:rPr lang="en-GB" noProof="0" dirty="0"/>
              <a:t> </a:t>
            </a:r>
            <a:r>
              <a:rPr lang="en-GB" noProof="0" dirty="0" err="1"/>
              <a:t>szint</a:t>
            </a:r>
            <a:endParaRPr lang="en-GB" noProof="0" dirty="0"/>
          </a:p>
          <a:p>
            <a:pPr lvl="3"/>
            <a:r>
              <a:rPr lang="en-GB" noProof="0" dirty="0" err="1"/>
              <a:t>Negyedik</a:t>
            </a:r>
            <a:r>
              <a:rPr lang="en-GB" noProof="0" dirty="0"/>
              <a:t> </a:t>
            </a:r>
            <a:r>
              <a:rPr lang="en-GB" noProof="0" dirty="0" err="1"/>
              <a:t>szint</a:t>
            </a:r>
            <a:endParaRPr lang="en-GB" noProof="0" dirty="0"/>
          </a:p>
          <a:p>
            <a:pPr lvl="4"/>
            <a:r>
              <a:rPr lang="en-GB" noProof="0" dirty="0" err="1"/>
              <a:t>Ötödik</a:t>
            </a:r>
            <a:r>
              <a:rPr lang="en-GB" noProof="0" dirty="0"/>
              <a:t> </a:t>
            </a:r>
            <a:r>
              <a:rPr lang="en-GB" noProof="0" dirty="0" err="1"/>
              <a:t>szi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57588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28600" y="1387475"/>
            <a:ext cx="9448800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</a:t>
            </a:r>
            <a:r>
              <a:rPr lang="en-GB" noProof="0" dirty="0"/>
              <a:t>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28600" y="5729079"/>
            <a:ext cx="9448800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		Note</a:t>
            </a:r>
          </a:p>
          <a:p>
            <a:pPr lvl="0"/>
            <a:r>
              <a:rPr lang="en-GB" dirty="0"/>
              <a:t>	*	Footnote 1</a:t>
            </a:r>
          </a:p>
          <a:p>
            <a:pPr lvl="0"/>
            <a:r>
              <a:rPr lang="en-GB" dirty="0"/>
              <a:t>	**	Footnote 2</a:t>
            </a:r>
          </a:p>
          <a:p>
            <a:pPr lvl="1"/>
            <a:r>
              <a:rPr lang="en-GB" dirty="0"/>
              <a:t>	Source:	Detailed information for sources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7700" y="6624638"/>
            <a:ext cx="65" cy="153888"/>
          </a:xfrm>
          <a:ln/>
        </p:spPr>
        <p:txBody>
          <a:bodyPr/>
          <a:lstStyle>
            <a:lvl1pPr eaLnBrk="0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23838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37766105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457200"/>
            <a:ext cx="9448800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28601" y="1387475"/>
            <a:ext cx="4641574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 dirty="0"/>
              <a:t>Click to add title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49079" y="1387475"/>
            <a:ext cx="4628322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GB" noProof="0" dirty="0"/>
              <a:t>Click to add text here</a:t>
            </a:r>
          </a:p>
          <a:p>
            <a:pPr lvl="1"/>
            <a:r>
              <a:rPr lang="en-GB" noProof="0" dirty="0"/>
              <a:t>First level</a:t>
            </a:r>
          </a:p>
          <a:p>
            <a:pPr lvl="2"/>
            <a:r>
              <a:rPr lang="en-GB" noProof="0" dirty="0"/>
              <a:t>Second level</a:t>
            </a:r>
          </a:p>
          <a:p>
            <a:pPr lvl="3"/>
            <a:r>
              <a:rPr lang="en-GB" noProof="0" dirty="0"/>
              <a:t>Third level</a:t>
            </a:r>
          </a:p>
          <a:p>
            <a:pPr lvl="4"/>
            <a:r>
              <a:rPr lang="en-GB" noProof="0" dirty="0"/>
              <a:t>Fourth level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647700" y="6624638"/>
            <a:ext cx="65" cy="153888"/>
          </a:xfrm>
          <a:ln/>
        </p:spPr>
        <p:txBody>
          <a:bodyPr/>
          <a:lstStyle>
            <a:lvl1pPr eaLnBrk="0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GB" noProof="0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32258155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3108689"/>
            <a:ext cx="9448800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GB" dirty="0"/>
              <a:t>Spacer shee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647700" y="6624638"/>
            <a:ext cx="65" cy="153888"/>
          </a:xfrm>
        </p:spPr>
        <p:txBody>
          <a:bodyPr/>
          <a:lstStyle>
            <a:lvl1pPr eaLnBrk="0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007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28600" y="1387475"/>
            <a:ext cx="9456738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GB" dirty="0"/>
              <a:t>Dieses </a:t>
            </a:r>
            <a:r>
              <a:rPr lang="en-GB" dirty="0" err="1"/>
              <a:t>Textfeld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!</a:t>
            </a:r>
          </a:p>
          <a:p>
            <a:pPr lvl="1"/>
            <a:r>
              <a:rPr lang="en-GB" dirty="0" err="1"/>
              <a:t>Gliederungsebene</a:t>
            </a:r>
            <a:r>
              <a:rPr lang="en-GB" dirty="0"/>
              <a:t> 1</a:t>
            </a:r>
          </a:p>
          <a:p>
            <a:pPr lvl="2"/>
            <a:r>
              <a:rPr lang="en-GB" dirty="0" err="1"/>
              <a:t>Gliederungsebene</a:t>
            </a:r>
            <a:r>
              <a:rPr lang="en-GB" dirty="0"/>
              <a:t> 2</a:t>
            </a:r>
          </a:p>
          <a:p>
            <a:pPr lvl="3"/>
            <a:r>
              <a:rPr lang="en-GB" dirty="0" err="1"/>
              <a:t>Gliederungsebene</a:t>
            </a:r>
            <a:r>
              <a:rPr lang="en-GB" dirty="0"/>
              <a:t> 3 </a:t>
            </a:r>
          </a:p>
          <a:p>
            <a:pPr lvl="4"/>
            <a:r>
              <a:rPr lang="en-GB" dirty="0" err="1"/>
              <a:t>Gliederungsebene</a:t>
            </a:r>
            <a:r>
              <a:rPr lang="en-GB" dirty="0"/>
              <a:t> 4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 userDrawn="1"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28074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286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4" progId="TCLayout.ActiveDocument.1">
                  <p:embed/>
                </p:oleObj>
              </mc:Choice>
              <mc:Fallback>
                <p:oleObj name="think-cell Slide" r:id="rId3" imgW="245" imgH="2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22436" y="3082821"/>
            <a:ext cx="8953377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en-GB" dirty="0" err="1"/>
              <a:t>Mintaszöveg</a:t>
            </a:r>
            <a:r>
              <a:rPr lang="en-GB" dirty="0"/>
              <a:t> </a:t>
            </a:r>
            <a:r>
              <a:rPr lang="en-GB" dirty="0" err="1"/>
              <a:t>szerkesztése</a:t>
            </a:r>
            <a:endParaRPr lang="en-GB" dirty="0"/>
          </a:p>
          <a:p>
            <a:pPr lvl="1"/>
            <a:r>
              <a:rPr lang="en-GB" dirty="0" err="1"/>
              <a:t>Máso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2"/>
            <a:r>
              <a:rPr lang="en-GB" dirty="0" err="1"/>
              <a:t>Harma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3"/>
            <a:r>
              <a:rPr lang="en-GB" dirty="0" err="1"/>
              <a:t>Negye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4"/>
            <a:r>
              <a:rPr lang="en-GB" dirty="0" err="1"/>
              <a:t>Ötö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47700" y="6624638"/>
            <a:ext cx="65" cy="153888"/>
          </a:xfrm>
        </p:spPr>
        <p:txBody>
          <a:bodyPr/>
          <a:lstStyle>
            <a:lvl1pPr eaLnBrk="0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5056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150" y="3033149"/>
            <a:ext cx="5259288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7443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223838" y="3180747"/>
            <a:ext cx="4531043" cy="1226213"/>
            <a:chOff x="2456315" y="3803536"/>
            <a:chExt cx="4718135" cy="792091"/>
          </a:xfrm>
        </p:grpSpPr>
        <p:sp>
          <p:nvSpPr>
            <p:cNvPr id="3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00296"/>
              <a:ext cx="4663726" cy="39533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>
                <a:buClr>
                  <a:srgbClr val="008CC8"/>
                </a:buClr>
              </a:pPr>
              <a:endParaRPr lang="en-GB" sz="3600" b="1" dirty="0">
                <a:solidFill>
                  <a:srgbClr val="000000"/>
                </a:solidFill>
              </a:endParaRPr>
            </a:p>
          </p:txBody>
        </p:sp>
        <p:sp>
          <p:nvSpPr>
            <p:cNvPr id="4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  <a:buClr>
                  <a:srgbClr val="008CC8"/>
                </a:buClr>
              </a:pPr>
              <a:r>
                <a:rPr lang="en-GB" sz="3600" b="1" dirty="0">
                  <a:solidFill>
                    <a:srgbClr val="000000"/>
                  </a:solidFill>
                </a:rPr>
                <a:t>Steering Business</a:t>
              </a:r>
            </a:p>
          </p:txBody>
        </p:sp>
        <p:sp>
          <p:nvSpPr>
            <p:cNvPr id="5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  <a:buClr>
                  <a:srgbClr val="008CC8"/>
                </a:buClr>
              </a:pPr>
              <a:r>
                <a:rPr lang="en-GB" sz="3600" b="1" dirty="0">
                  <a:solidFill>
                    <a:srgbClr val="FFFFFF"/>
                  </a:solidFill>
                </a:rPr>
                <a:t>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53767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0837" y="238540"/>
            <a:ext cx="920518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50836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008CC8"/>
              </a:buClr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47700" y="6624638"/>
            <a:ext cx="65" cy="153888"/>
          </a:xfrm>
        </p:spPr>
        <p:txBody>
          <a:bodyPr/>
          <a:lstStyle>
            <a:lvl1pPr eaLnBrk="0"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0838" y="854994"/>
            <a:ext cx="9204325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GB" dirty="0" err="1"/>
              <a:t>Textmasterformate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37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7893050" cy="76200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488" y="1387475"/>
            <a:ext cx="9456737" cy="18113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83795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4" imgH="245" progId="TCLayout.ActiveDocument.1">
                  <p:embed/>
                </p:oleObj>
              </mc:Choice>
              <mc:Fallback>
                <p:oleObj name="think-cell Slide" r:id="rId3" imgW="244" imgH="24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7643" y="5027458"/>
            <a:ext cx="2971800" cy="369332"/>
          </a:xfrm>
        </p:spPr>
        <p:txBody>
          <a:bodyPr anchor="t"/>
          <a:lstStyle>
            <a:lvl1pPr algn="l" defTabSz="857250" rtl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1200" b="1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Author/Presenter</a:t>
            </a:r>
            <a:br>
              <a:rPr lang="en-GB" dirty="0"/>
            </a:br>
            <a:r>
              <a:rPr lang="en-GB" dirty="0"/>
              <a:t>(Title) First Name Last Nam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37643" y="3617123"/>
            <a:ext cx="5686863" cy="7112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presentation title</a:t>
            </a:r>
          </a:p>
        </p:txBody>
      </p:sp>
      <p:sp>
        <p:nvSpPr>
          <p:cNvPr id="14" name="Parallelogramm 13"/>
          <p:cNvSpPr/>
          <p:nvPr/>
        </p:nvSpPr>
        <p:spPr bwMode="auto">
          <a:xfrm>
            <a:off x="216107" y="4504723"/>
            <a:ext cx="5794633" cy="360000"/>
          </a:xfrm>
          <a:prstGeom prst="parallelogram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7642" y="4535239"/>
            <a:ext cx="3526606" cy="276999"/>
          </a:xfrm>
        </p:spPr>
        <p:txBody>
          <a:bodyPr wrap="none" anchor="ctr"/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dditional key word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37643" y="6119256"/>
            <a:ext cx="2968625" cy="184666"/>
          </a:xfrm>
        </p:spPr>
        <p:txBody>
          <a:bodyPr/>
          <a:lstStyle>
            <a:lvl1pPr algn="l" defTabSz="857250" rtl="0" eaLnBrk="0" fontAlgn="base" hangingPunct="0"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defRPr lang="de-DE" sz="1200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Location, Date [Month d, YYYY]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41313" y="2386799"/>
            <a:ext cx="1440000" cy="492443"/>
          </a:xfrm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on symbol  to add pictur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2608" y="370132"/>
            <a:ext cx="3096389" cy="506165"/>
          </a:xfrm>
          <a:prstGeom prst="rect">
            <a:avLst/>
          </a:prstGeom>
        </p:spPr>
      </p:pic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7789985" y="6624638"/>
            <a:ext cx="18921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sz="1000" dirty="0">
                <a:solidFill>
                  <a:schemeClr val="accent1"/>
                </a:solidFill>
              </a:rPr>
              <a:t>© IFUA </a:t>
            </a:r>
            <a:r>
              <a:rPr lang="en-GB" sz="1000" noProof="0" dirty="0">
                <a:solidFill>
                  <a:schemeClr val="accent1"/>
                </a:solidFill>
              </a:rPr>
              <a:t>Horváth</a:t>
            </a:r>
            <a:r>
              <a:rPr lang="en-GB" sz="1000" dirty="0">
                <a:solidFill>
                  <a:schemeClr val="accent1"/>
                </a:solidFill>
              </a:rPr>
              <a:t> &amp; Partners</a:t>
            </a:r>
          </a:p>
        </p:txBody>
      </p:sp>
    </p:spTree>
    <p:extLst>
      <p:ext uri="{BB962C8B-B14F-4D97-AF65-F5344CB8AC3E}">
        <p14:creationId xmlns:p14="http://schemas.microsoft.com/office/powerpoint/2010/main" val="17096037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4" progId="TCLayout.ActiveDocument.1">
                  <p:embed/>
                </p:oleObj>
              </mc:Choice>
              <mc:Fallback>
                <p:oleObj name="think-cell Slide" r:id="rId3" imgW="245" imgH="2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22436" y="3082821"/>
            <a:ext cx="8953377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en-GB" dirty="0" err="1"/>
              <a:t>Mintaszöveg</a:t>
            </a:r>
            <a:r>
              <a:rPr lang="en-GB" dirty="0"/>
              <a:t> </a:t>
            </a:r>
            <a:r>
              <a:rPr lang="en-GB" dirty="0" err="1"/>
              <a:t>szerkesztése</a:t>
            </a:r>
            <a:endParaRPr lang="en-GB" dirty="0"/>
          </a:p>
          <a:p>
            <a:pPr lvl="1"/>
            <a:r>
              <a:rPr lang="en-GB" dirty="0" err="1"/>
              <a:t>Máso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2"/>
            <a:r>
              <a:rPr lang="en-GB" dirty="0" err="1"/>
              <a:t>Harma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3"/>
            <a:r>
              <a:rPr lang="en-GB" dirty="0" err="1"/>
              <a:t>Negye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  <a:p>
            <a:pPr lvl="4"/>
            <a:r>
              <a:rPr lang="en-GB" dirty="0" err="1"/>
              <a:t>Ötödik</a:t>
            </a:r>
            <a:r>
              <a:rPr lang="en-GB" dirty="0"/>
              <a:t> </a:t>
            </a:r>
            <a:r>
              <a:rPr lang="en-GB" dirty="0" err="1"/>
              <a:t>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67338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28600" y="1387475"/>
            <a:ext cx="9448800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28600" y="5729079"/>
            <a:ext cx="9448800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		Note</a:t>
            </a:r>
          </a:p>
          <a:p>
            <a:pPr lvl="0"/>
            <a:r>
              <a:rPr lang="en-GB" dirty="0"/>
              <a:t>	*	Footnote 1</a:t>
            </a:r>
          </a:p>
          <a:p>
            <a:pPr lvl="0"/>
            <a:r>
              <a:rPr lang="en-GB" dirty="0"/>
              <a:t>	**	Footnote 2</a:t>
            </a:r>
          </a:p>
          <a:p>
            <a:pPr lvl="1"/>
            <a:r>
              <a:rPr lang="en-GB" dirty="0"/>
              <a:t>	Source:	Detailed information for sources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23838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23822523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457200"/>
            <a:ext cx="9448800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28601" y="1387475"/>
            <a:ext cx="4641574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 dirty="0"/>
              <a:t>Click to add title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49079" y="1387475"/>
            <a:ext cx="4628322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GB" dirty="0"/>
              <a:t>Click to add text here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27543370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3108689"/>
            <a:ext cx="9448800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GB" dirty="0"/>
              <a:t>Spacer shee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119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28600" y="1387475"/>
            <a:ext cx="9448800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28600" y="5729079"/>
            <a:ext cx="9448800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		Note</a:t>
            </a:r>
          </a:p>
          <a:p>
            <a:pPr lvl="0"/>
            <a:r>
              <a:rPr lang="en-GB" dirty="0"/>
              <a:t>	*	Footnote 1</a:t>
            </a:r>
          </a:p>
          <a:p>
            <a:pPr lvl="0"/>
            <a:r>
              <a:rPr lang="en-GB" dirty="0"/>
              <a:t>	**	Footnote 2</a:t>
            </a:r>
          </a:p>
          <a:p>
            <a:pPr lvl="1"/>
            <a:r>
              <a:rPr lang="en-GB" dirty="0"/>
              <a:t>	Source:	Detailed information for sources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23838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28600" y="1387475"/>
            <a:ext cx="9456738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GB" dirty="0"/>
              <a:t>Dieses </a:t>
            </a:r>
            <a:r>
              <a:rPr lang="en-GB" dirty="0" err="1"/>
              <a:t>Textfeld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!</a:t>
            </a:r>
          </a:p>
          <a:p>
            <a:pPr lvl="1"/>
            <a:r>
              <a:rPr lang="en-GB" dirty="0" err="1"/>
              <a:t>Gliederungsebene</a:t>
            </a:r>
            <a:r>
              <a:rPr lang="en-GB" dirty="0"/>
              <a:t> 1</a:t>
            </a:r>
          </a:p>
          <a:p>
            <a:pPr lvl="2"/>
            <a:r>
              <a:rPr lang="en-GB" dirty="0" err="1"/>
              <a:t>Gliederungsebene</a:t>
            </a:r>
            <a:r>
              <a:rPr lang="en-GB" dirty="0"/>
              <a:t> 2</a:t>
            </a:r>
          </a:p>
          <a:p>
            <a:pPr lvl="3"/>
            <a:r>
              <a:rPr lang="en-GB" dirty="0" err="1"/>
              <a:t>Gliederungsebene</a:t>
            </a:r>
            <a:r>
              <a:rPr lang="en-GB" dirty="0"/>
              <a:t> 3 </a:t>
            </a:r>
          </a:p>
          <a:p>
            <a:pPr lvl="4"/>
            <a:r>
              <a:rPr lang="en-GB" dirty="0" err="1"/>
              <a:t>Gliederungsebene</a:t>
            </a:r>
            <a:r>
              <a:rPr lang="en-GB" dirty="0"/>
              <a:t> 4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078495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56555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.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intacím</a:t>
            </a:r>
            <a:r>
              <a:rPr lang="en-GB" dirty="0"/>
              <a:t> </a:t>
            </a:r>
            <a:r>
              <a:rPr lang="en-GB" dirty="0" err="1"/>
              <a:t>szerkesztés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12710482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150" y="3033149"/>
            <a:ext cx="5259288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968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1"/>
          <p:cNvGrpSpPr/>
          <p:nvPr/>
        </p:nvGrpSpPr>
        <p:grpSpPr>
          <a:xfrm>
            <a:off x="223838" y="3180747"/>
            <a:ext cx="4531043" cy="1200879"/>
            <a:chOff x="2456315" y="3803536"/>
            <a:chExt cx="4718135" cy="775726"/>
          </a:xfrm>
        </p:grpSpPr>
        <p:sp>
          <p:nvSpPr>
            <p:cNvPr id="7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30441"/>
              <a:ext cx="2973711" cy="34882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GB" sz="3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</a:pPr>
              <a:r>
                <a:rPr lang="en-GB" sz="3600" b="0" noProof="0" dirty="0">
                  <a:solidFill>
                    <a:schemeClr val="accent1"/>
                  </a:solidFill>
                  <a:latin typeface="Corporate E Demi" pitchFamily="2" charset="0"/>
                </a:rPr>
                <a:t>Steering</a:t>
              </a:r>
              <a:r>
                <a:rPr lang="en-GB" sz="3600" b="0" dirty="0">
                  <a:solidFill>
                    <a:schemeClr val="accent1"/>
                  </a:solidFill>
                  <a:latin typeface="Corporate E Demi" pitchFamily="2" charset="0"/>
                </a:rPr>
                <a:t> Business</a:t>
              </a:r>
            </a:p>
          </p:txBody>
        </p:sp>
        <p:sp>
          <p:nvSpPr>
            <p:cNvPr id="9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>
                <a:spcBef>
                  <a:spcPct val="40000"/>
                </a:spcBef>
              </a:pPr>
              <a:r>
                <a:rPr lang="en-GB" sz="3600" b="0" noProof="0" dirty="0">
                  <a:solidFill>
                    <a:schemeClr val="bg1"/>
                  </a:solidFill>
                  <a:latin typeface="Corporate E" pitchFamily="2" charset="0"/>
                </a:rPr>
                <a:t>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45161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23935"/>
            <a:ext cx="4239175" cy="221909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36868534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808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457200"/>
            <a:ext cx="9448800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28601" y="1387475"/>
            <a:ext cx="4641574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 dirty="0"/>
              <a:t>Click to add title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49079" y="1387475"/>
            <a:ext cx="4628322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GB" dirty="0"/>
              <a:t>Click to add text here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GB" dirty="0"/>
              <a:t>Second heading/Topic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28600" y="3108689"/>
            <a:ext cx="9448800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GB" dirty="0"/>
              <a:t>Spacer shee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28600" y="1387475"/>
            <a:ext cx="9456738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GB" dirty="0"/>
              <a:t>Dieses </a:t>
            </a:r>
            <a:r>
              <a:rPr lang="en-GB" dirty="0" err="1"/>
              <a:t>Textfeld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!</a:t>
            </a:r>
          </a:p>
          <a:p>
            <a:pPr lvl="1"/>
            <a:r>
              <a:rPr lang="en-GB" dirty="0" err="1"/>
              <a:t>Gliederungsebene</a:t>
            </a:r>
            <a:r>
              <a:rPr lang="en-GB" dirty="0"/>
              <a:t> 1</a:t>
            </a:r>
          </a:p>
          <a:p>
            <a:pPr lvl="2"/>
            <a:r>
              <a:rPr lang="en-GB" dirty="0" err="1"/>
              <a:t>Gliederungsebene</a:t>
            </a:r>
            <a:r>
              <a:rPr lang="en-GB" dirty="0"/>
              <a:t> 2</a:t>
            </a:r>
          </a:p>
          <a:p>
            <a:pPr lvl="3"/>
            <a:r>
              <a:rPr lang="en-GB" dirty="0" err="1"/>
              <a:t>Gliederungsebene</a:t>
            </a:r>
            <a:r>
              <a:rPr lang="en-GB" dirty="0"/>
              <a:t> 3 </a:t>
            </a:r>
          </a:p>
          <a:p>
            <a:pPr lvl="4"/>
            <a:r>
              <a:rPr lang="en-GB" dirty="0" err="1"/>
              <a:t>Gliederungsebene</a:t>
            </a:r>
            <a:r>
              <a:rPr lang="en-GB" dirty="0"/>
              <a:t> 4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/>
        </p:nvGrpSpPr>
        <p:grpSpPr>
          <a:xfrm>
            <a:off x="0" y="0"/>
            <a:ext cx="9885217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.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15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ktum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intacím</a:t>
            </a:r>
            <a:r>
              <a:rPr lang="en-GB" dirty="0"/>
              <a:t> </a:t>
            </a:r>
            <a:r>
              <a:rPr lang="en-GB" dirty="0" err="1"/>
              <a:t>szerkesztés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0188" y="230400"/>
            <a:ext cx="843375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409788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150" y="3033149"/>
            <a:ext cx="5259288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474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25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7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4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48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alphaModFix amt="20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1245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72" imgH="572" progId="TCLayout.ActiveDocument.1">
                  <p:embed/>
                </p:oleObj>
              </mc:Choice>
              <mc:Fallback>
                <p:oleObj name="think-cell Slide" r:id="rId19" imgW="572" imgH="572" progId="TCLayout.ActiveDocument.1">
                  <p:embed/>
                  <p:pic>
                    <p:nvPicPr>
                      <p:cNvPr id="2" name="Objektum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457200"/>
            <a:ext cx="9448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 flipH="1">
            <a:off x="228600" y="1219200"/>
            <a:ext cx="9448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>
              <a:defRPr/>
            </a:pPr>
            <a:endParaRPr lang="en-GB" dirty="0"/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228600" y="1387475"/>
            <a:ext cx="9456738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GB" dirty="0" err="1"/>
              <a:t>Standardtextfeld</a:t>
            </a:r>
            <a:endParaRPr lang="en-GB" dirty="0"/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7700" y="6624638"/>
            <a:ext cx="45236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3838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VCT_Marker_ID_11" hidden="1"/>
          <p:cNvSpPr/>
          <p:nvPr>
            <p:custDataLst>
              <p:tags r:id="rId17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5" r:id="rId8"/>
    <p:sldLayoutId id="2147483683" r:id="rId9"/>
    <p:sldLayoutId id="2147483684" r:id="rId10"/>
    <p:sldLayoutId id="2147483703" r:id="rId11"/>
    <p:sldLayoutId id="2147483724" r:id="rId12"/>
    <p:sldLayoutId id="2147483725" r:id="rId13"/>
  </p:sldLayoutIdLst>
  <p:hf sldNum="0" hdr="0" ftr="0" dt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alphaModFix amt="20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00313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ktum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457200"/>
            <a:ext cx="7378148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 flipH="1">
            <a:off x="228600" y="1219200"/>
            <a:ext cx="9448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>
              <a:buClr>
                <a:srgbClr val="008CC8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228600" y="1387475"/>
            <a:ext cx="9456738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GB" noProof="0" dirty="0" err="1"/>
              <a:t>Standardtextfeld</a:t>
            </a:r>
            <a:endParaRPr lang="en-GB" noProof="0" dirty="0"/>
          </a:p>
          <a:p>
            <a:pPr lvl="1"/>
            <a:r>
              <a:rPr lang="en-GB" noProof="0" dirty="0"/>
              <a:t>First level</a:t>
            </a:r>
          </a:p>
          <a:p>
            <a:pPr lvl="2"/>
            <a:r>
              <a:rPr lang="en-GB" noProof="0" dirty="0"/>
              <a:t>Second level</a:t>
            </a:r>
          </a:p>
          <a:p>
            <a:pPr lvl="3"/>
            <a:r>
              <a:rPr lang="en-GB" noProof="0" dirty="0"/>
              <a:t>Third level</a:t>
            </a:r>
          </a:p>
          <a:p>
            <a:pPr lvl="4"/>
            <a:r>
              <a:rPr lang="en-GB" noProof="0" dirty="0"/>
              <a:t>Fourth level</a:t>
            </a:r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7700" y="6624638"/>
            <a:ext cx="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eaLnBrk="0">
              <a:spcBef>
                <a:spcPct val="0"/>
              </a:spcBef>
              <a:buClrTx/>
              <a:buSzTx/>
              <a:buFontTx/>
              <a:buNone/>
              <a:defRPr sz="10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3838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VCT_Marker_ID_11" hidden="1"/>
          <p:cNvSpPr/>
          <p:nvPr>
            <p:custDataLst>
              <p:tags r:id="rId15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>
              <a:buClr>
                <a:srgbClr val="008CC8"/>
              </a:buClr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7789985" y="6624638"/>
            <a:ext cx="18921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sz="1000" dirty="0">
                <a:solidFill>
                  <a:srgbClr val="008CC8"/>
                </a:solidFill>
              </a:rPr>
              <a:t>© IFUA Horváth &amp; Partners</a:t>
            </a:r>
          </a:p>
        </p:txBody>
      </p:sp>
    </p:spTree>
    <p:extLst>
      <p:ext uri="{BB962C8B-B14F-4D97-AF65-F5344CB8AC3E}">
        <p14:creationId xmlns:p14="http://schemas.microsoft.com/office/powerpoint/2010/main" val="115105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hf sldNum="0" hdr="0" ftr="0" dt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alphaModFix amt="20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72" imgH="572" progId="TCLayout.ActiveDocument.1">
                  <p:embed/>
                </p:oleObj>
              </mc:Choice>
              <mc:Fallback>
                <p:oleObj name="think-cell Slide" r:id="rId18" imgW="572" imgH="572" progId="TCLayout.ActiveDocument.1">
                  <p:embed/>
                  <p:pic>
                    <p:nvPicPr>
                      <p:cNvPr id="2" name="Objektum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457200"/>
            <a:ext cx="9448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 flipH="1">
            <a:off x="228600" y="1219200"/>
            <a:ext cx="9448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>
              <a:defRPr/>
            </a:pPr>
            <a:endParaRPr lang="en-GB" dirty="0"/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28600" y="1387475"/>
            <a:ext cx="9456738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GB" dirty="0" err="1"/>
              <a:t>Standardtextfeld</a:t>
            </a:r>
            <a:endParaRPr lang="en-GB" dirty="0"/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7700" y="6624638"/>
            <a:ext cx="45236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3838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VCT_Marker_ID_11" hidden="1"/>
          <p:cNvSpPr/>
          <p:nvPr>
            <p:custDataLst>
              <p:tags r:id="rId16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7789985" y="6624638"/>
            <a:ext cx="18921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sz="1000" dirty="0">
                <a:solidFill>
                  <a:schemeClr val="accent1"/>
                </a:solidFill>
              </a:rPr>
              <a:t>© IFUA </a:t>
            </a:r>
            <a:r>
              <a:rPr lang="en-GB" sz="1000" noProof="0" dirty="0">
                <a:solidFill>
                  <a:schemeClr val="accent1"/>
                </a:solidFill>
              </a:rPr>
              <a:t>Horváth</a:t>
            </a:r>
            <a:r>
              <a:rPr lang="en-GB" sz="1000" dirty="0">
                <a:solidFill>
                  <a:schemeClr val="accent1"/>
                </a:solidFill>
              </a:rPr>
              <a:t> &amp; Partners</a:t>
            </a:r>
          </a:p>
        </p:txBody>
      </p:sp>
    </p:spTree>
    <p:extLst>
      <p:ext uri="{BB962C8B-B14F-4D97-AF65-F5344CB8AC3E}">
        <p14:creationId xmlns:p14="http://schemas.microsoft.com/office/powerpoint/2010/main" val="309393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sldNum="0" hdr="0" ftr="0" dt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6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8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oleObject" Target="../embeddings/oleObject11.bin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61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youtu.be/q6-7yNVJ3YE" TargetMode="External"/><Relationship Id="rId5" Type="http://schemas.openxmlformats.org/officeDocument/2006/relationships/image" Target="../media/image62.png"/><Relationship Id="rId4" Type="http://schemas.openxmlformats.org/officeDocument/2006/relationships/hyperlink" Target="https://www.facebook.com/ttkbudapest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customXml" Target="../ink/ink6.xml"/><Relationship Id="rId18" Type="http://schemas.openxmlformats.org/officeDocument/2006/relationships/image" Target="../media/image24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21.png"/><Relationship Id="rId17" Type="http://schemas.openxmlformats.org/officeDocument/2006/relationships/customXml" Target="../ink/ink8.xml"/><Relationship Id="rId2" Type="http://schemas.openxmlformats.org/officeDocument/2006/relationships/image" Target="../media/image16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10" Type="http://schemas.openxmlformats.org/officeDocument/2006/relationships/image" Target="../media/image20.png"/><Relationship Id="rId4" Type="http://schemas.openxmlformats.org/officeDocument/2006/relationships/image" Target="../media/image17.png"/><Relationship Id="rId9" Type="http://schemas.openxmlformats.org/officeDocument/2006/relationships/customXml" Target="../ink/ink4.xml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58" y="0"/>
            <a:ext cx="992185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2291" name="Text Box 2"/>
          <p:cNvSpPr txBox="1">
            <a:spLocks noChangeArrowheads="1"/>
          </p:cNvSpPr>
          <p:nvPr/>
        </p:nvSpPr>
        <p:spPr bwMode="auto">
          <a:xfrm>
            <a:off x="685427" y="645695"/>
            <a:ext cx="4450426" cy="648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527" tIns="42764" rIns="85527" bIns="42764"/>
          <a:lstStyle>
            <a:lvl1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1pPr>
            <a:lvl2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2pPr>
            <a:lvl3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3pPr>
            <a:lvl4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4pPr>
            <a:lvl5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9pPr>
          </a:lstStyle>
          <a:p>
            <a:pPr eaLnBrk="1"/>
            <a:r>
              <a:rPr lang="hu-HU" altLang="hu-HU" sz="4100" b="1" spc="500" dirty="0" err="1">
                <a:solidFill>
                  <a:srgbClr val="0000FF"/>
                </a:solidFill>
              </a:rPr>
              <a:t>Fotokatalizátorok</a:t>
            </a:r>
            <a:r>
              <a:rPr lang="hu-HU" altLang="hu-HU" sz="4100" b="1" spc="500" dirty="0">
                <a:solidFill>
                  <a:srgbClr val="0000FF"/>
                </a:solidFill>
              </a:rPr>
              <a:t> </a:t>
            </a:r>
            <a:br>
              <a:rPr lang="hu-HU" altLang="hu-HU" sz="4100" b="1" spc="500" dirty="0">
                <a:solidFill>
                  <a:srgbClr val="0000FF"/>
                </a:solidFill>
              </a:rPr>
            </a:br>
            <a:r>
              <a:rPr lang="hu-HU" altLang="hu-HU" sz="4100" b="1" spc="500" dirty="0" err="1">
                <a:solidFill>
                  <a:srgbClr val="0000FF"/>
                </a:solidFill>
              </a:rPr>
              <a:t>Redox</a:t>
            </a:r>
            <a:r>
              <a:rPr lang="hu-HU" altLang="hu-HU" sz="4100" b="1" spc="500" dirty="0">
                <a:solidFill>
                  <a:srgbClr val="0000FF"/>
                </a:solidFill>
              </a:rPr>
              <a:t> Erősségének </a:t>
            </a:r>
            <a:br>
              <a:rPr lang="hu-HU" altLang="hu-HU" sz="4100" b="1" spc="500" dirty="0">
                <a:solidFill>
                  <a:srgbClr val="0000FF"/>
                </a:solidFill>
              </a:rPr>
            </a:br>
            <a:r>
              <a:rPr lang="hu-HU" altLang="hu-HU" sz="4100" b="1" spc="500" dirty="0">
                <a:solidFill>
                  <a:srgbClr val="0000FF"/>
                </a:solidFill>
              </a:rPr>
              <a:t>Becslése</a:t>
            </a:r>
            <a:endParaRPr lang="en-IE" altLang="hu-HU" sz="4100" b="1" spc="500" dirty="0">
              <a:solidFill>
                <a:srgbClr val="0000FF"/>
              </a:solidFill>
            </a:endParaRP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615" y="4995863"/>
            <a:ext cx="1690364" cy="1690364"/>
          </a:xfrm>
          <a:prstGeom prst="rect">
            <a:avLst/>
          </a:prstGeom>
        </p:spPr>
      </p:pic>
      <p:pic>
        <p:nvPicPr>
          <p:cNvPr id="5" name="Kép 4" descr="A képen Betűtípus, Grafika, embléma, szöveg látható&#10;&#10;Automatikusan generált leírás">
            <a:extLst>
              <a:ext uri="{FF2B5EF4-FFF2-40B4-BE49-F238E27FC236}">
                <a16:creationId xmlns:a16="http://schemas.microsoft.com/office/drawing/2014/main" id="{FE29536A-A368-D5BD-EA2A-C465CC3D208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500" y="5325999"/>
            <a:ext cx="2943173" cy="1026163"/>
          </a:xfrm>
          <a:prstGeom prst="rect">
            <a:avLst/>
          </a:prstGeom>
        </p:spPr>
      </p:pic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8891756" y="173551"/>
            <a:ext cx="879284" cy="603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527" tIns="42764" rIns="85527" bIns="42764"/>
          <a:lstStyle>
            <a:lvl1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1pPr>
            <a:lvl2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2pPr>
            <a:lvl3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3pPr>
            <a:lvl4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4pPr>
            <a:lvl5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9pPr>
          </a:lstStyle>
          <a:p>
            <a:pPr eaLnBrk="1">
              <a:lnSpc>
                <a:spcPct val="100000"/>
              </a:lnSpc>
              <a:spcBef>
                <a:spcPts val="0"/>
              </a:spcBef>
            </a:pPr>
            <a:r>
              <a:rPr lang="hu-HU" sz="1100" b="1" dirty="0">
                <a:solidFill>
                  <a:srgbClr val="148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.</a:t>
            </a:r>
          </a:p>
          <a:p>
            <a:pPr eaLnBrk="1">
              <a:lnSpc>
                <a:spcPct val="100000"/>
              </a:lnSpc>
              <a:spcBef>
                <a:spcPts val="0"/>
              </a:spcBef>
            </a:pPr>
            <a:r>
              <a:rPr lang="hu-HU" sz="1100" b="1" dirty="0">
                <a:solidFill>
                  <a:srgbClr val="148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áció.</a:t>
            </a:r>
          </a:p>
          <a:p>
            <a:pPr eaLnBrk="1">
              <a:lnSpc>
                <a:spcPct val="100000"/>
              </a:lnSpc>
              <a:spcBef>
                <a:spcPts val="0"/>
              </a:spcBef>
            </a:pPr>
            <a:r>
              <a:rPr lang="hu-HU" sz="1100" b="1" dirty="0">
                <a:solidFill>
                  <a:srgbClr val="148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ás.</a:t>
            </a:r>
            <a:endParaRPr lang="en-IE" altLang="hu-HU" sz="1100" b="1" dirty="0">
              <a:solidFill>
                <a:srgbClr val="148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A126FE27-48E2-974E-2B66-7DD4F0FAD6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8615" y="230886"/>
            <a:ext cx="1902940" cy="488620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3673" y="5164173"/>
            <a:ext cx="1461553" cy="134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429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88EB2D-BD86-6F00-2B30-097F336462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C8EE2F2-C291-932F-7D23-D44A3E4CA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F84A1B61-FFBB-4628-D7CA-04C6D0A455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16" y="1288197"/>
            <a:ext cx="9130168" cy="5544000"/>
          </a:xfrm>
          <a:prstGeom prst="rect">
            <a:avLst/>
          </a:prstGeom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00301806-E57D-1BED-557F-1F50B0EB2B68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3056742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BE7F1F-94EE-3154-9F09-886B77B24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9512D6C-3D98-4A8B-C35A-8B054FB2C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09DA2A95-96EA-1038-0457-1CE9DF1A06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0156" y="1470430"/>
            <a:ext cx="6995844" cy="4248000"/>
          </a:xfrm>
          <a:prstGeom prst="rect">
            <a:avLst/>
          </a:prstGeom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3F4CAA87-DC86-B9B3-C0B3-F5AFC936B26E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2C5F0777-C15D-EF8B-82CC-0D189C349C2A}"/>
              </a:ext>
            </a:extLst>
          </p:cNvPr>
          <p:cNvSpPr/>
          <p:nvPr/>
        </p:nvSpPr>
        <p:spPr>
          <a:xfrm>
            <a:off x="60854" y="1470430"/>
            <a:ext cx="5831441" cy="1931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het javítani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ó korreláció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isztematikus hiba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Ø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llemzően </a:t>
            </a:r>
            <a:b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ul becslés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585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FB7B37-863F-B09A-DB4A-F40ABF4C5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25921FC-99FB-C0DA-DA4B-BA0032137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B60200AF-C31C-ED7A-DB6F-7B9295C90A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0156" y="1470430"/>
            <a:ext cx="6995844" cy="4248000"/>
          </a:xfrm>
          <a:prstGeom prst="rect">
            <a:avLst/>
          </a:prstGeom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6854CF60-E39C-EB2E-5786-16349A14D5D0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7D4D0981-B7E2-2881-4642-C28100D91D19}"/>
              </a:ext>
            </a:extLst>
          </p:cNvPr>
          <p:cNvSpPr/>
          <p:nvPr/>
        </p:nvSpPr>
        <p:spPr>
          <a:xfrm>
            <a:off x="60854" y="1470430"/>
            <a:ext cx="5831441" cy="174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het javítani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ó korreláció</a:t>
            </a:r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solidFill>
                <a:schemeClr val="bg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isztematikus hib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stans eltolás</a:t>
            </a:r>
          </a:p>
        </p:txBody>
      </p:sp>
    </p:spTree>
    <p:extLst>
      <p:ext uri="{BB962C8B-B14F-4D97-AF65-F5344CB8AC3E}">
        <p14:creationId xmlns:p14="http://schemas.microsoft.com/office/powerpoint/2010/main" val="1867426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B28D2C-8812-7E15-41D3-8995E7AEF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4A1D00B-8D86-45A0-DF07-310639819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08DCD687-9495-7058-79AC-6C1B47C6C223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E7EA522D-4821-A28B-427B-724332E25DA5}"/>
              </a:ext>
            </a:extLst>
          </p:cNvPr>
          <p:cNvSpPr/>
          <p:nvPr/>
        </p:nvSpPr>
        <p:spPr>
          <a:xfrm>
            <a:off x="60854" y="1470430"/>
            <a:ext cx="5831441" cy="174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het javítani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ó korreláció</a:t>
            </a:r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solidFill>
                <a:schemeClr val="bg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isztematikus hib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stans eltolás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DAC05622-023D-BFFD-9208-CEE3030A0A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991" y="2940974"/>
            <a:ext cx="3885065" cy="3891923"/>
          </a:xfrm>
          <a:prstGeom prst="rect">
            <a:avLst/>
          </a:prstGeom>
        </p:spPr>
      </p:pic>
      <p:pic>
        <p:nvPicPr>
          <p:cNvPr id="4" name="Kép 3">
            <a:extLst>
              <a:ext uri="{FF2B5EF4-FFF2-40B4-BE49-F238E27FC236}">
                <a16:creationId xmlns:a16="http://schemas.microsoft.com/office/drawing/2014/main" id="{085EF67F-D694-DA75-ED91-7DD05C56AA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514" y="3160897"/>
            <a:ext cx="3662303" cy="3672000"/>
          </a:xfrm>
          <a:prstGeom prst="rect">
            <a:avLst/>
          </a:prstGeom>
        </p:spPr>
      </p:pic>
      <p:sp>
        <p:nvSpPr>
          <p:cNvPr id="8" name="Nyíl: jobbra mutató 7">
            <a:extLst>
              <a:ext uri="{FF2B5EF4-FFF2-40B4-BE49-F238E27FC236}">
                <a16:creationId xmlns:a16="http://schemas.microsoft.com/office/drawing/2014/main" id="{93430BDD-9F52-E339-151F-7A03DC4FE72D}"/>
              </a:ext>
            </a:extLst>
          </p:cNvPr>
          <p:cNvSpPr/>
          <p:nvPr/>
        </p:nvSpPr>
        <p:spPr>
          <a:xfrm>
            <a:off x="4951091" y="4501452"/>
            <a:ext cx="837626" cy="77096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41227301-D69D-DE9B-183D-FBD1C5A24AC7}"/>
              </a:ext>
            </a:extLst>
          </p:cNvPr>
          <p:cNvSpPr/>
          <p:nvPr/>
        </p:nvSpPr>
        <p:spPr>
          <a:xfrm>
            <a:off x="8528330" y="5302389"/>
            <a:ext cx="926222" cy="20989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348710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2DCB0-854E-5CB1-6FB7-233BD6C7D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82E35DB-2F9F-2D30-D617-A2F65D152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E875E0E4-D215-52DC-B5F3-4A12241D6AEC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067C7D57-900D-31F5-C7EF-ECA67B7BA2D5}"/>
              </a:ext>
            </a:extLst>
          </p:cNvPr>
          <p:cNvSpPr/>
          <p:nvPr/>
        </p:nvSpPr>
        <p:spPr>
          <a:xfrm>
            <a:off x="60854" y="1470430"/>
            <a:ext cx="5831441" cy="3541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het javítani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ó korreláció</a:t>
            </a:r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solidFill>
                <a:schemeClr val="bg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isztematikus hib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stans eltolá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neáris korrekció?</a:t>
            </a:r>
          </a:p>
          <a:p>
            <a:pPr marL="742950" lvl="1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ális javulás</a:t>
            </a:r>
          </a:p>
          <a:p>
            <a:pPr marL="742950" lvl="1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1 paraméter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8B6384D4-9711-72D3-45C8-9C2BE5BE57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487" y="2760681"/>
            <a:ext cx="3449908" cy="3456000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8071A5A6-1D0D-1F4D-2963-885368234D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223" y="2742681"/>
            <a:ext cx="3482777" cy="3492000"/>
          </a:xfrm>
          <a:prstGeom prst="rect">
            <a:avLst/>
          </a:prstGeom>
        </p:spPr>
      </p:pic>
      <p:sp>
        <p:nvSpPr>
          <p:cNvPr id="12" name="Szövegdoboz 11">
            <a:extLst>
              <a:ext uri="{FF2B5EF4-FFF2-40B4-BE49-F238E27FC236}">
                <a16:creationId xmlns:a16="http://schemas.microsoft.com/office/drawing/2014/main" id="{ED2387B8-77B0-D1D6-1681-78859E07AC7A}"/>
              </a:ext>
            </a:extLst>
          </p:cNvPr>
          <p:cNvSpPr txBox="1"/>
          <p:nvPr/>
        </p:nvSpPr>
        <p:spPr>
          <a:xfrm>
            <a:off x="7244112" y="2390602"/>
            <a:ext cx="229048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neáris korrekció</a:t>
            </a:r>
          </a:p>
        </p:txBody>
      </p:sp>
      <p:sp>
        <p:nvSpPr>
          <p:cNvPr id="10" name="Nyíl: jobbra mutató 9">
            <a:extLst>
              <a:ext uri="{FF2B5EF4-FFF2-40B4-BE49-F238E27FC236}">
                <a16:creationId xmlns:a16="http://schemas.microsoft.com/office/drawing/2014/main" id="{869CEEC4-8CC1-AE43-645A-46D5F0D9E673}"/>
              </a:ext>
            </a:extLst>
          </p:cNvPr>
          <p:cNvSpPr/>
          <p:nvPr/>
        </p:nvSpPr>
        <p:spPr>
          <a:xfrm>
            <a:off x="5940597" y="4241460"/>
            <a:ext cx="657019" cy="77096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53B5AC3B-5044-053E-7C8F-ECA3A456CB08}"/>
              </a:ext>
            </a:extLst>
          </p:cNvPr>
          <p:cNvSpPr txBox="1"/>
          <p:nvPr/>
        </p:nvSpPr>
        <p:spPr>
          <a:xfrm>
            <a:off x="8183661" y="3013501"/>
            <a:ext cx="16805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~0.2 V az oldószermodell hibája (ismert)</a:t>
            </a:r>
          </a:p>
        </p:txBody>
      </p:sp>
    </p:spTree>
    <p:extLst>
      <p:ext uri="{BB962C8B-B14F-4D97-AF65-F5344CB8AC3E}">
        <p14:creationId xmlns:p14="http://schemas.microsoft.com/office/powerpoint/2010/main" val="41551669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E13787-D70A-00DE-2C3D-BB0C2317D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696F78E-2DF7-1EBB-D2B0-EA2E3D028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4A35E857-CD63-6D3B-DA7C-34E38A066706}"/>
              </a:ext>
            </a:extLst>
          </p:cNvPr>
          <p:cNvSpPr txBox="1"/>
          <p:nvPr/>
        </p:nvSpPr>
        <p:spPr>
          <a:xfrm>
            <a:off x="7752231" y="292610"/>
            <a:ext cx="14141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dirty="0">
                <a:solidFill>
                  <a:schemeClr val="accent1"/>
                </a:solidFill>
              </a:rPr>
              <a:t>E(M</a:t>
            </a:r>
            <a:r>
              <a:rPr lang="it-IT" sz="2400" baseline="30000" dirty="0">
                <a:solidFill>
                  <a:schemeClr val="accent1"/>
                </a:solidFill>
              </a:rPr>
              <a:t>+</a:t>
            </a:r>
            <a:r>
              <a:rPr lang="it-IT" sz="2400" dirty="0">
                <a:solidFill>
                  <a:schemeClr val="accent1"/>
                </a:solidFill>
              </a:rPr>
              <a:t>/M) </a:t>
            </a:r>
            <a:r>
              <a:rPr lang="it-IT" sz="2400" dirty="0">
                <a:solidFill>
                  <a:srgbClr val="ED7D31"/>
                </a:solidFill>
              </a:rPr>
              <a:t>E(M/M</a:t>
            </a:r>
            <a:r>
              <a:rPr lang="it-IT" sz="2400" baseline="30000" dirty="0">
                <a:solidFill>
                  <a:srgbClr val="ED7D31"/>
                </a:solidFill>
              </a:rPr>
              <a:t>−</a:t>
            </a:r>
            <a:r>
              <a:rPr lang="it-IT" sz="2400" dirty="0">
                <a:solidFill>
                  <a:srgbClr val="ED7D31"/>
                </a:solidFill>
              </a:rPr>
              <a:t>)</a:t>
            </a:r>
            <a:r>
              <a:rPr lang="it-IT" sz="2400" dirty="0"/>
              <a:t> </a:t>
            </a:r>
            <a:endParaRPr lang="hu-HU" sz="2400" dirty="0"/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BAFE44FD-9079-BC91-3DF2-98B9966337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69"/>
          <a:stretch/>
        </p:blipFill>
        <p:spPr>
          <a:xfrm>
            <a:off x="4969329" y="1840248"/>
            <a:ext cx="4936671" cy="4895616"/>
          </a:xfrm>
          <a:prstGeom prst="rect">
            <a:avLst/>
          </a:prstGeom>
        </p:spPr>
      </p:pic>
      <p:pic>
        <p:nvPicPr>
          <p:cNvPr id="4" name="Kép 3">
            <a:extLst>
              <a:ext uri="{FF2B5EF4-FFF2-40B4-BE49-F238E27FC236}">
                <a16:creationId xmlns:a16="http://schemas.microsoft.com/office/drawing/2014/main" id="{C9AED72E-B263-BB15-1728-E61BF717F6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23"/>
          <a:stretch/>
        </p:blipFill>
        <p:spPr>
          <a:xfrm>
            <a:off x="12620" y="1840248"/>
            <a:ext cx="4940380" cy="4895616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178D0FDB-B37A-4671-2860-8AE47909A1F1}"/>
              </a:ext>
            </a:extLst>
          </p:cNvPr>
          <p:cNvSpPr txBox="1"/>
          <p:nvPr/>
        </p:nvSpPr>
        <p:spPr>
          <a:xfrm>
            <a:off x="6266439" y="1386563"/>
            <a:ext cx="28999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dirty="0">
                <a:solidFill>
                  <a:srgbClr val="FF0000"/>
                </a:solidFill>
              </a:rPr>
              <a:t>lineáris korrekció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3DD0E04D-5642-4D10-5D72-203E82AB44D3}"/>
              </a:ext>
            </a:extLst>
          </p:cNvPr>
          <p:cNvSpPr txBox="1"/>
          <p:nvPr/>
        </p:nvSpPr>
        <p:spPr>
          <a:xfrm>
            <a:off x="1073290" y="1378583"/>
            <a:ext cx="26602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ncs korrekció</a:t>
            </a:r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ED24ED47-D8C8-7FDB-9CFA-30822D410F40}"/>
              </a:ext>
            </a:extLst>
          </p:cNvPr>
          <p:cNvSpPr/>
          <p:nvPr/>
        </p:nvSpPr>
        <p:spPr>
          <a:xfrm>
            <a:off x="5086906" y="5000895"/>
            <a:ext cx="1686758" cy="16484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F4785E21-BBEA-E4CA-E52F-B1E10FD4F79A}"/>
              </a:ext>
            </a:extLst>
          </p:cNvPr>
          <p:cNvSpPr/>
          <p:nvPr/>
        </p:nvSpPr>
        <p:spPr>
          <a:xfrm>
            <a:off x="114723" y="4996264"/>
            <a:ext cx="1686758" cy="16484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9A1B3C9C-9089-275C-92A7-A8FC3D621A15}"/>
              </a:ext>
            </a:extLst>
          </p:cNvPr>
          <p:cNvCxnSpPr>
            <a:cxnSpLocks/>
          </p:cNvCxnSpPr>
          <p:nvPr/>
        </p:nvCxnSpPr>
        <p:spPr bwMode="auto">
          <a:xfrm>
            <a:off x="4936020" y="1242000"/>
            <a:ext cx="0" cy="561600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55577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77899-8744-1089-7511-4F29AF45B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8903F4B-E180-CC05-C6F5-6D8689067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068A815F-F8DF-AFA5-48F1-88F788F263BA}"/>
              </a:ext>
            </a:extLst>
          </p:cNvPr>
          <p:cNvSpPr/>
          <p:nvPr/>
        </p:nvSpPr>
        <p:spPr>
          <a:xfrm>
            <a:off x="60854" y="1470430"/>
            <a:ext cx="5831441" cy="174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ítások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gyobb hibák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gyobb funkcionál függé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nchmark cikkünk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AE8DF47E-B6E7-F806-BAEB-7B760558901B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AE8DF47E-B6E7-F806-BAEB-7B76055890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8161A2B2-79CA-02D0-4F15-34C51EBDA025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8161A2B2-79CA-02D0-4F15-34C51EBDA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Kép 5">
            <a:extLst>
              <a:ext uri="{FF2B5EF4-FFF2-40B4-BE49-F238E27FC236}">
                <a16:creationId xmlns:a16="http://schemas.microsoft.com/office/drawing/2014/main" id="{3F885442-9530-AB66-9C9E-16EC5068BC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51" y="3429000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05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0A5C7-B65B-47B7-1383-45C413C87D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7FC3677-09BD-4576-BE8A-27A651885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B372DC2F-C865-3F85-F4D2-7B36BA55049C}"/>
              </a:ext>
            </a:extLst>
          </p:cNvPr>
          <p:cNvSpPr/>
          <p:nvPr/>
        </p:nvSpPr>
        <p:spPr>
          <a:xfrm>
            <a:off x="60854" y="1470430"/>
            <a:ext cx="5831441" cy="2010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érés:</a:t>
            </a:r>
            <a:endParaRPr lang="en-US" sz="2000" b="1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zorpciós és emissziós spektrumok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tszéspontból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súcsmaximumok átlagolásával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zgési finomszerkezetbő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26E99BF1-F0F7-FCE9-7C86-E71A1E48BA2C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26E99BF1-F0F7-FCE9-7C86-E71A1E48BA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B1E537F-F843-7237-C738-CC0735E8CA37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B1E537F-F843-7237-C738-CC0735E8CA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78F21851-3AF1-C592-E3B0-2437E9025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5629276" y="1378788"/>
            <a:ext cx="4048124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4DA8DEAE-D076-2BA8-E9AE-D8400D3E92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879"/>
          <a:stretch/>
        </p:blipFill>
        <p:spPr bwMode="auto">
          <a:xfrm>
            <a:off x="1551095" y="3665903"/>
            <a:ext cx="3815043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52992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58BCE-650F-C370-5AC7-BE4342D89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8706D89-2DE1-2AE5-F354-95E153ED4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443546FC-FA79-04DF-D56D-281A3D6638AB}"/>
              </a:ext>
            </a:extLst>
          </p:cNvPr>
          <p:cNvSpPr/>
          <p:nvPr/>
        </p:nvSpPr>
        <p:spPr>
          <a:xfrm>
            <a:off x="60854" y="1470430"/>
            <a:ext cx="5831441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olás:</a:t>
            </a:r>
            <a:endParaRPr lang="en-US" sz="2000" b="1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hezebb, közelítések kellene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28EFCAF9-DE8D-B592-01DB-A227D1FD2149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28EFCAF9-DE8D-B592-01DB-A227D1FD21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46BC274-A7E6-D42F-D656-4AD1160B562E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46BC274-A7E6-D42F-D656-4AD1160B56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CB92BAF1-D7B9-5500-A446-C96CA81EE3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879"/>
          <a:stretch/>
        </p:blipFill>
        <p:spPr bwMode="auto">
          <a:xfrm>
            <a:off x="352023" y="2976521"/>
            <a:ext cx="3815043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B8D7F18E-9827-F762-9157-0E3710260F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3630" y="3058201"/>
            <a:ext cx="4836401" cy="304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908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A8E1D-F9C9-D2D2-F49D-3B10655ACE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B61DED4-30D6-A403-72DA-FA96C6D92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A94473AA-5168-0F33-B762-0B3E228F365E}"/>
              </a:ext>
            </a:extLst>
          </p:cNvPr>
          <p:cNvSpPr/>
          <p:nvPr/>
        </p:nvSpPr>
        <p:spPr>
          <a:xfrm>
            <a:off x="60854" y="1470430"/>
            <a:ext cx="5831441" cy="1297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</a:t>
            </a:r>
            <a:r>
              <a:rPr lang="hu-HU" sz="2000" b="1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özelíté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vertikális gerjesztési energi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tin TDDFT számításo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D9774D37-DBD4-6858-3C28-60A3BF0057F8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D9774D37-DBD4-6858-3C28-60A3BF0057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56406EF9-3CCE-4166-D6D9-CDAB1570C7DE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56406EF9-3CCE-4166-D6D9-CDAB1570C7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57D43EB1-B3A9-9A11-2359-5E702D4E72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57"/>
          <a:stretch/>
        </p:blipFill>
        <p:spPr bwMode="auto">
          <a:xfrm>
            <a:off x="4110741" y="2768221"/>
            <a:ext cx="4083984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llipszis 8">
            <a:extLst>
              <a:ext uri="{FF2B5EF4-FFF2-40B4-BE49-F238E27FC236}">
                <a16:creationId xmlns:a16="http://schemas.microsoft.com/office/drawing/2014/main" id="{2A0223DC-8D45-BA1B-7E00-B5EB8BB7A871}"/>
              </a:ext>
            </a:extLst>
          </p:cNvPr>
          <p:cNvSpPr/>
          <p:nvPr/>
        </p:nvSpPr>
        <p:spPr>
          <a:xfrm>
            <a:off x="5796106" y="2904933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Ellipszis 9">
            <a:extLst>
              <a:ext uri="{FF2B5EF4-FFF2-40B4-BE49-F238E27FC236}">
                <a16:creationId xmlns:a16="http://schemas.microsoft.com/office/drawing/2014/main" id="{08665994-D7BC-32CC-9CEB-E105C6E50071}"/>
              </a:ext>
            </a:extLst>
          </p:cNvPr>
          <p:cNvSpPr/>
          <p:nvPr/>
        </p:nvSpPr>
        <p:spPr>
          <a:xfrm>
            <a:off x="5948506" y="3664692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BE7BCA44-A110-7A63-3B50-F17652A00DBB}"/>
              </a:ext>
            </a:extLst>
          </p:cNvPr>
          <p:cNvSpPr txBox="1"/>
          <p:nvPr/>
        </p:nvSpPr>
        <p:spPr>
          <a:xfrm>
            <a:off x="6069528" y="3875359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rgbClr val="FF0000"/>
                </a:solidFill>
              </a:rPr>
              <a:t>E</a:t>
            </a:r>
            <a:r>
              <a:rPr lang="hu-HU" sz="2400" b="1" baseline="-25000" dirty="0">
                <a:solidFill>
                  <a:srgbClr val="FF0000"/>
                </a:solidFill>
              </a:rPr>
              <a:t>0,0</a:t>
            </a:r>
            <a:endParaRPr lang="hu-HU" sz="2400" b="1" dirty="0">
              <a:solidFill>
                <a:srgbClr val="FF0000"/>
              </a:solidFill>
            </a:endParaRPr>
          </a:p>
        </p:txBody>
      </p:sp>
      <p:sp>
        <p:nvSpPr>
          <p:cNvPr id="12" name="Szövegdoboz 11">
            <a:extLst>
              <a:ext uri="{FF2B5EF4-FFF2-40B4-BE49-F238E27FC236}">
                <a16:creationId xmlns:a16="http://schemas.microsoft.com/office/drawing/2014/main" id="{CF8A8BCF-B5D2-9B50-9108-9661B8AA5304}"/>
              </a:ext>
            </a:extLst>
          </p:cNvPr>
          <p:cNvSpPr txBox="1"/>
          <p:nvPr/>
        </p:nvSpPr>
        <p:spPr>
          <a:xfrm>
            <a:off x="5630848" y="2374912"/>
            <a:ext cx="876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FF0000"/>
                </a:solidFill>
              </a:rPr>
              <a:t>E</a:t>
            </a:r>
            <a:r>
              <a:rPr lang="hu-HU" sz="2400" b="1" baseline="-25000" dirty="0" err="1">
                <a:solidFill>
                  <a:srgbClr val="FF0000"/>
                </a:solidFill>
              </a:rPr>
              <a:t>abs</a:t>
            </a:r>
            <a:endParaRPr lang="hu-H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68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talom</a:t>
            </a:r>
          </a:p>
        </p:txBody>
      </p:sp>
      <p:sp>
        <p:nvSpPr>
          <p:cNvPr id="4" name="Téglalap 3"/>
          <p:cNvSpPr/>
          <p:nvPr/>
        </p:nvSpPr>
        <p:spPr>
          <a:xfrm>
            <a:off x="60854" y="1470430"/>
            <a:ext cx="5831441" cy="1741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 a </a:t>
            </a:r>
            <a:r>
              <a:rPr lang="en-US" sz="2000" b="1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en-US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redox </a:t>
            </a:r>
            <a:r>
              <a:rPr lang="en-US" sz="2000" b="1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talízis</a:t>
            </a:r>
            <a:r>
              <a:rPr lang="en-US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lyen mennyiséget számolunk?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re elég a DFT?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gyan javítható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Ábra 6">
            <a:extLst>
              <a:ext uri="{FF2B5EF4-FFF2-40B4-BE49-F238E27FC236}">
                <a16:creationId xmlns:a16="http://schemas.microsoft.com/office/drawing/2014/main" id="{A5C87649-EA61-21C1-B0B1-E300452DBB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92295" y="2594074"/>
            <a:ext cx="3063729" cy="3063729"/>
          </a:xfrm>
          <a:prstGeom prst="rect">
            <a:avLst/>
          </a:prstGeom>
        </p:spPr>
      </p:pic>
      <p:sp>
        <p:nvSpPr>
          <p:cNvPr id="11" name="Szövegdoboz 10">
            <a:extLst>
              <a:ext uri="{FF2B5EF4-FFF2-40B4-BE49-F238E27FC236}">
                <a16:creationId xmlns:a16="http://schemas.microsoft.com/office/drawing/2014/main" id="{DDB01C99-F089-65C2-B951-3DE687AE9B4E}"/>
              </a:ext>
            </a:extLst>
          </p:cNvPr>
          <p:cNvSpPr txBox="1"/>
          <p:nvPr/>
        </p:nvSpPr>
        <p:spPr>
          <a:xfrm>
            <a:off x="5598997" y="5765437"/>
            <a:ext cx="39551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hér, P. P.;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darász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Á.; Stirling, A. J. Chem. Theory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ut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, 2023, 19, 4125–4135.</a:t>
            </a:r>
          </a:p>
        </p:txBody>
      </p:sp>
    </p:spTree>
    <p:extLst>
      <p:ext uri="{BB962C8B-B14F-4D97-AF65-F5344CB8AC3E}">
        <p14:creationId xmlns:p14="http://schemas.microsoft.com/office/powerpoint/2010/main" val="29324954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60AA98-82D7-92B1-C873-1F21B736E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31A7790-91F1-216C-B707-2F3942267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4F8F1324-3EE0-D8AC-5ED8-48396AED78B7}"/>
              </a:ext>
            </a:extLst>
          </p:cNvPr>
          <p:cNvSpPr/>
          <p:nvPr/>
        </p:nvSpPr>
        <p:spPr>
          <a:xfrm>
            <a:off x="60854" y="1470430"/>
            <a:ext cx="5831441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</a:t>
            </a:r>
            <a:r>
              <a:rPr lang="hu-HU" sz="2000" b="1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özelíté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kkorát hibázunk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E3879141-C721-B2E6-6B35-1F6F824BF199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E3879141-C721-B2E6-6B35-1F6F824BF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423207C8-1BCC-D739-F44E-A8465975853B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423207C8-1BCC-D739-F44E-A846597585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Kép 5">
            <a:extLst>
              <a:ext uri="{FF2B5EF4-FFF2-40B4-BE49-F238E27FC236}">
                <a16:creationId xmlns:a16="http://schemas.microsoft.com/office/drawing/2014/main" id="{98805A8F-DF99-F629-A1DE-24AB0B58E1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4" y="2570610"/>
            <a:ext cx="4658877" cy="4210820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E2462DFB-845D-6DFA-C876-AFE7A9784F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269" y="2570610"/>
            <a:ext cx="4658877" cy="4210820"/>
          </a:xfrm>
          <a:prstGeom prst="rect">
            <a:avLst/>
          </a:prstGeom>
        </p:spPr>
      </p:pic>
      <p:sp>
        <p:nvSpPr>
          <p:cNvPr id="13" name="Szövegdoboz 12">
            <a:extLst>
              <a:ext uri="{FF2B5EF4-FFF2-40B4-BE49-F238E27FC236}">
                <a16:creationId xmlns:a16="http://schemas.microsoft.com/office/drawing/2014/main" id="{A40D08D8-2911-CD9B-7576-EBB5F320F650}"/>
              </a:ext>
            </a:extLst>
          </p:cNvPr>
          <p:cNvSpPr txBox="1"/>
          <p:nvPr/>
        </p:nvSpPr>
        <p:spPr>
          <a:xfrm>
            <a:off x="1431513" y="5865705"/>
            <a:ext cx="32353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i="1" dirty="0"/>
              <a:t>Chem. Rev.</a:t>
            </a:r>
            <a:r>
              <a:rPr lang="hu-HU" sz="1400" dirty="0"/>
              <a:t>,</a:t>
            </a:r>
            <a:r>
              <a:rPr lang="de-DE" sz="1400" dirty="0"/>
              <a:t> </a:t>
            </a:r>
            <a:r>
              <a:rPr lang="de-DE" sz="1400" b="1" dirty="0"/>
              <a:t>2016</a:t>
            </a:r>
            <a:r>
              <a:rPr lang="de-DE" sz="1400" dirty="0"/>
              <a:t>, </a:t>
            </a:r>
            <a:r>
              <a:rPr lang="de-DE" sz="1400" i="1" dirty="0"/>
              <a:t>116</a:t>
            </a:r>
            <a:r>
              <a:rPr lang="de-DE" sz="1400" dirty="0"/>
              <a:t>, 10075–10166</a:t>
            </a:r>
            <a:endParaRPr lang="hu-HU" sz="1400" dirty="0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444E9E57-44C3-04D0-4EE4-EB6DD7B0B64E}"/>
              </a:ext>
            </a:extLst>
          </p:cNvPr>
          <p:cNvSpPr txBox="1"/>
          <p:nvPr/>
        </p:nvSpPr>
        <p:spPr>
          <a:xfrm>
            <a:off x="7679612" y="5860570"/>
            <a:ext cx="21116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i="1" dirty="0" err="1"/>
              <a:t>Sci</a:t>
            </a:r>
            <a:r>
              <a:rPr lang="hu-HU" sz="1400" i="1" dirty="0"/>
              <a:t>. Data</a:t>
            </a:r>
            <a:r>
              <a:rPr lang="hu-HU" sz="1400" dirty="0"/>
              <a:t>, </a:t>
            </a:r>
            <a:r>
              <a:rPr lang="hu-HU" sz="1400" b="1" dirty="0"/>
              <a:t>2020</a:t>
            </a:r>
            <a:r>
              <a:rPr lang="hu-HU" sz="1400" dirty="0"/>
              <a:t>, </a:t>
            </a:r>
            <a:r>
              <a:rPr lang="hu-HU" sz="1400" i="1" dirty="0"/>
              <a:t>7</a:t>
            </a:r>
            <a:r>
              <a:rPr lang="hu-HU" sz="1400" dirty="0"/>
              <a:t>, 295</a:t>
            </a: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ED009E8A-E7C0-4180-AAF1-94B49C7F54ED}"/>
              </a:ext>
            </a:extLst>
          </p:cNvPr>
          <p:cNvSpPr txBox="1"/>
          <p:nvPr/>
        </p:nvSpPr>
        <p:spPr>
          <a:xfrm>
            <a:off x="2179674" y="5202274"/>
            <a:ext cx="2632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E w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utlier: 0.26 eV</a:t>
            </a:r>
            <a:b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E w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 outlier: 0.22 eV</a:t>
            </a:r>
            <a:endParaRPr lang="hu-HU" sz="1600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9E475E83-8D4A-1744-30CB-1D14245D846C}"/>
              </a:ext>
            </a:extLst>
          </p:cNvPr>
          <p:cNvSpPr txBox="1"/>
          <p:nvPr/>
        </p:nvSpPr>
        <p:spPr>
          <a:xfrm>
            <a:off x="7838436" y="4830657"/>
            <a:ext cx="17077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E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.2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V</a:t>
            </a:r>
          </a:p>
        </p:txBody>
      </p:sp>
    </p:spTree>
    <p:extLst>
      <p:ext uri="{BB962C8B-B14F-4D97-AF65-F5344CB8AC3E}">
        <p14:creationId xmlns:p14="http://schemas.microsoft.com/office/powerpoint/2010/main" val="32459723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8C367-401A-A576-6736-EA6928252E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4E2BE8E-104A-511A-925B-77A9D9D94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BFC766B1-375B-FA92-016B-79B8C3B80FDB}"/>
              </a:ext>
            </a:extLst>
          </p:cNvPr>
          <p:cNvSpPr/>
          <p:nvPr/>
        </p:nvSpPr>
        <p:spPr>
          <a:xfrm>
            <a:off x="60854" y="1470430"/>
            <a:ext cx="5831441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</a:t>
            </a:r>
            <a:r>
              <a:rPr lang="hu-HU" sz="2000" b="1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="1" baseline="-25000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özelíté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neáris korrekcióval: </a:t>
            </a:r>
            <a:r>
              <a:rPr lang="hu-HU" sz="2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aseline="-25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2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0.91×E</a:t>
            </a:r>
            <a:r>
              <a:rPr lang="hu-HU" sz="2000" baseline="-25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2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9E210A58-4706-7D1D-9860-B5B12D519EB1}"/>
                  </a:ext>
                </a:extLst>
              </p:cNvPr>
              <p:cNvSpPr txBox="1"/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9E210A58-4706-7D1D-9860-B5B12D519E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758406"/>
                <a:ext cx="4152291" cy="385555"/>
              </a:xfrm>
              <a:prstGeom prst="rect">
                <a:avLst/>
              </a:prstGeom>
              <a:blipFill>
                <a:blip r:embed="rId2"/>
                <a:stretch>
                  <a:fillRect l="-1028" r="-294" b="-29688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506A739C-0735-4067-B37D-013CAABBD0D0}"/>
                  </a:ext>
                </a:extLst>
              </p:cNvPr>
              <p:cNvSpPr txBox="1"/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</m:e>
                        <m:sub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hu-HU" sz="2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506A739C-0735-4067-B37D-013CAABBD0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6138" y="297612"/>
                <a:ext cx="4152291" cy="385555"/>
              </a:xfrm>
              <a:prstGeom prst="rect">
                <a:avLst/>
              </a:prstGeom>
              <a:blipFill>
                <a:blip r:embed="rId3"/>
                <a:stretch>
                  <a:fillRect l="-1028" r="-294" b="-3015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Kép 10">
            <a:extLst>
              <a:ext uri="{FF2B5EF4-FFF2-40B4-BE49-F238E27FC236}">
                <a16:creationId xmlns:a16="http://schemas.microsoft.com/office/drawing/2014/main" id="{6FA368D6-3367-1528-5C23-E3091B5EA6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551" y="2570610"/>
            <a:ext cx="4663449" cy="4210820"/>
          </a:xfrm>
          <a:prstGeom prst="rect">
            <a:avLst/>
          </a:prstGeom>
        </p:spPr>
      </p:pic>
      <p:sp>
        <p:nvSpPr>
          <p:cNvPr id="12" name="Szövegdoboz 11">
            <a:extLst>
              <a:ext uri="{FF2B5EF4-FFF2-40B4-BE49-F238E27FC236}">
                <a16:creationId xmlns:a16="http://schemas.microsoft.com/office/drawing/2014/main" id="{D5C87BD4-D76F-F442-AB85-B0C00D2DB1B8}"/>
              </a:ext>
            </a:extLst>
          </p:cNvPr>
          <p:cNvSpPr txBox="1"/>
          <p:nvPr/>
        </p:nvSpPr>
        <p:spPr>
          <a:xfrm>
            <a:off x="8283741" y="5188453"/>
            <a:ext cx="1541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E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.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 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</a:t>
            </a:r>
          </a:p>
        </p:txBody>
      </p:sp>
      <p:pic>
        <p:nvPicPr>
          <p:cNvPr id="18" name="Kép 17">
            <a:extLst>
              <a:ext uri="{FF2B5EF4-FFF2-40B4-BE49-F238E27FC236}">
                <a16:creationId xmlns:a16="http://schemas.microsoft.com/office/drawing/2014/main" id="{3A660BC8-96B0-BF7B-8779-7C2187EA5E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70610"/>
            <a:ext cx="4658877" cy="4210820"/>
          </a:xfrm>
          <a:prstGeom prst="rect">
            <a:avLst/>
          </a:prstGeom>
        </p:spPr>
      </p:pic>
      <p:sp>
        <p:nvSpPr>
          <p:cNvPr id="19" name="Szövegdoboz 18">
            <a:extLst>
              <a:ext uri="{FF2B5EF4-FFF2-40B4-BE49-F238E27FC236}">
                <a16:creationId xmlns:a16="http://schemas.microsoft.com/office/drawing/2014/main" id="{1F4DB94C-50C4-C83D-EEA8-7AD6BDFFCF40}"/>
              </a:ext>
            </a:extLst>
          </p:cNvPr>
          <p:cNvSpPr txBox="1"/>
          <p:nvPr/>
        </p:nvSpPr>
        <p:spPr>
          <a:xfrm>
            <a:off x="2650868" y="5188453"/>
            <a:ext cx="17077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E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.2</a:t>
            </a:r>
            <a:r>
              <a:rPr lang="hu-HU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r>
              <a:rPr lang="en-US" sz="1600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V</a:t>
            </a:r>
          </a:p>
        </p:txBody>
      </p:sp>
      <p:sp>
        <p:nvSpPr>
          <p:cNvPr id="17" name="Nyíl: jobbra mutató 16">
            <a:extLst>
              <a:ext uri="{FF2B5EF4-FFF2-40B4-BE49-F238E27FC236}">
                <a16:creationId xmlns:a16="http://schemas.microsoft.com/office/drawing/2014/main" id="{511FEB15-6F5B-6D58-C463-8CEE56CE59F2}"/>
              </a:ext>
            </a:extLst>
          </p:cNvPr>
          <p:cNvSpPr/>
          <p:nvPr/>
        </p:nvSpPr>
        <p:spPr>
          <a:xfrm>
            <a:off x="4413684" y="3933645"/>
            <a:ext cx="768832" cy="930824"/>
          </a:xfrm>
          <a:prstGeom prst="rightArrow">
            <a:avLst>
              <a:gd name="adj1" fmla="val 50000"/>
              <a:gd name="adj2" fmla="val 3633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960893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C210F-A0F6-5AAC-4DE5-84F3B3D6A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2C4740C-25EC-A531-695E-46CB8F9D6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</a:t>
            </a:r>
          </a:p>
        </p:txBody>
      </p:sp>
      <p:pic>
        <p:nvPicPr>
          <p:cNvPr id="3" name="Tartalom helye 4">
            <a:extLst>
              <a:ext uri="{FF2B5EF4-FFF2-40B4-BE49-F238E27FC236}">
                <a16:creationId xmlns:a16="http://schemas.microsoft.com/office/drawing/2014/main" id="{AA9CA24E-D234-1B79-D318-47F075243F5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9827" y="2087591"/>
            <a:ext cx="7856173" cy="4770409"/>
          </a:xfrm>
          <a:prstGeom prst="rect">
            <a:avLst/>
          </a:prstGeom>
        </p:spPr>
      </p:pic>
      <p:sp>
        <p:nvSpPr>
          <p:cNvPr id="4" name="Téglalap 3">
            <a:extLst>
              <a:ext uri="{FF2B5EF4-FFF2-40B4-BE49-F238E27FC236}">
                <a16:creationId xmlns:a16="http://schemas.microsoft.com/office/drawing/2014/main" id="{54D19395-9ED0-BC0E-3ACC-6F64EE0CEEEB}"/>
              </a:ext>
            </a:extLst>
          </p:cNvPr>
          <p:cNvSpPr/>
          <p:nvPr/>
        </p:nvSpPr>
        <p:spPr>
          <a:xfrm>
            <a:off x="60854" y="1470430"/>
            <a:ext cx="5831441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tolás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2000" baseline="-25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0.91×E</a:t>
            </a:r>
            <a:r>
              <a:rPr lang="hu-HU" sz="2000" baseline="-25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E36EDF0D-9E1D-805D-47B9-046E3574F459}"/>
                  </a:ext>
                </a:extLst>
              </p:cNvPr>
              <p:cNvSpPr txBox="1"/>
              <p:nvPr/>
            </p:nvSpPr>
            <p:spPr>
              <a:xfrm>
                <a:off x="6237351" y="1651386"/>
                <a:ext cx="3420360" cy="3211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000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e>
                      </m:d>
                      <m:r>
                        <a:rPr lang="hu-HU" sz="2000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000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hu-HU" sz="2000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hu-HU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0,0</m:t>
                          </m:r>
                        </m:sub>
                      </m:sSub>
                    </m:oMath>
                  </m:oMathPara>
                </a14:m>
                <a:endParaRPr lang="hu-HU" sz="2000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E36EDF0D-9E1D-805D-47B9-046E3574F4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7351" y="1651386"/>
                <a:ext cx="3420360" cy="321178"/>
              </a:xfrm>
              <a:prstGeom prst="rect">
                <a:avLst/>
              </a:prstGeom>
              <a:blipFill>
                <a:blip r:embed="rId3"/>
                <a:stretch>
                  <a:fillRect l="-1248" r="-357" b="-28302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Szövegdoboz 5">
                <a:extLst>
                  <a:ext uri="{FF2B5EF4-FFF2-40B4-BE49-F238E27FC236}">
                    <a16:creationId xmlns:a16="http://schemas.microsoft.com/office/drawing/2014/main" id="{6925500C-4C3F-0CB8-1CC8-FA53ADE6B1F6}"/>
                  </a:ext>
                </a:extLst>
              </p:cNvPr>
              <p:cNvSpPr txBox="1"/>
              <p:nvPr/>
            </p:nvSpPr>
            <p:spPr>
              <a:xfrm>
                <a:off x="6237351" y="1264279"/>
                <a:ext cx="3420360" cy="3211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000" b="0" i="1" smtClean="0">
                          <a:solidFill>
                            <a:srgbClr val="ED7D3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000" b="0" i="1" smtClean="0">
                          <a:solidFill>
                            <a:srgbClr val="ED7D3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hu-HU" sz="2000" b="0" i="1" smtClean="0">
                          <a:solidFill>
                            <a:srgbClr val="ED7D31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p>
                            <m:sSupPr>
                              <m:ctrlP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hu-HU" sz="2000" b="0" i="1" smtClean="0">
                                  <a:solidFill>
                                    <a:srgbClr val="ED7D3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hu-HU" sz="2000" b="0" i="1" smtClean="0">
                          <a:solidFill>
                            <a:srgbClr val="ED7D3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hu-HU" sz="2000" b="0" i="1" smtClean="0">
                              <a:solidFill>
                                <a:srgbClr val="ED7D31"/>
                              </a:solidFill>
                              <a:latin typeface="Cambria Math" panose="02040503050406030204" pitchFamily="18" charset="0"/>
                            </a:rPr>
                            <m:t>0,0</m:t>
                          </m:r>
                        </m:sub>
                      </m:sSub>
                    </m:oMath>
                  </m:oMathPara>
                </a14:m>
                <a:endParaRPr lang="hu-HU" sz="2000" dirty="0">
                  <a:solidFill>
                    <a:srgbClr val="ED7D31"/>
                  </a:solidFill>
                </a:endParaRPr>
              </a:p>
            </p:txBody>
          </p:sp>
        </mc:Choice>
        <mc:Fallback xmlns="">
          <p:sp>
            <p:nvSpPr>
              <p:cNvPr id="6" name="Szövegdoboz 5">
                <a:extLst>
                  <a:ext uri="{FF2B5EF4-FFF2-40B4-BE49-F238E27FC236}">
                    <a16:creationId xmlns:a16="http://schemas.microsoft.com/office/drawing/2014/main" id="{6925500C-4C3F-0CB8-1CC8-FA53ADE6B1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7351" y="1264279"/>
                <a:ext cx="3420360" cy="321178"/>
              </a:xfrm>
              <a:prstGeom prst="rect">
                <a:avLst/>
              </a:prstGeom>
              <a:blipFill>
                <a:blip r:embed="rId4"/>
                <a:stretch>
                  <a:fillRect l="-1248" r="-357" b="-30189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6336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14A35-0A12-50BA-2A06-F420CE376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9F9B336-671D-7277-160A-E8CC4C213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</a:t>
            </a: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12E34DAF-6227-1E2C-629F-0156A3EE53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858" y="1964740"/>
            <a:ext cx="4255169" cy="4258918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8C5E0B83-842C-0FCF-CA27-47EE5167C4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397" y="1876677"/>
            <a:ext cx="4427229" cy="4435044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62425FD0-BB84-2A80-204B-CFD1728B332C}"/>
              </a:ext>
            </a:extLst>
          </p:cNvPr>
          <p:cNvSpPr txBox="1"/>
          <p:nvPr/>
        </p:nvSpPr>
        <p:spPr>
          <a:xfrm>
            <a:off x="1651409" y="1386889"/>
            <a:ext cx="19789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</a:t>
            </a: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B115C504-07E5-BEF5-CB8E-03967B4D166C}"/>
              </a:ext>
            </a:extLst>
          </p:cNvPr>
          <p:cNvSpPr txBox="1"/>
          <p:nvPr/>
        </p:nvSpPr>
        <p:spPr>
          <a:xfrm>
            <a:off x="6558224" y="1386889"/>
            <a:ext cx="29099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állapot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C63D9647-9521-4AC0-E8A1-D1EDC7494BA3}"/>
              </a:ext>
            </a:extLst>
          </p:cNvPr>
          <p:cNvSpPr txBox="1"/>
          <p:nvPr/>
        </p:nvSpPr>
        <p:spPr>
          <a:xfrm>
            <a:off x="8139127" y="3894425"/>
            <a:ext cx="15814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korrekcióval!</a:t>
            </a:r>
          </a:p>
        </p:txBody>
      </p:sp>
    </p:spTree>
    <p:extLst>
      <p:ext uri="{BB962C8B-B14F-4D97-AF65-F5344CB8AC3E}">
        <p14:creationId xmlns:p14="http://schemas.microsoft.com/office/powerpoint/2010/main" val="29252516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9457C8-7399-A276-EDE6-7DD71588CA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8C9D6F4-07EB-DBA9-4D90-8EE5E5EE1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3E3860CF-73E2-5A02-1A4B-33AC536C066A}"/>
              </a:ext>
            </a:extLst>
          </p:cNvPr>
          <p:cNvSpPr/>
          <p:nvPr/>
        </p:nvSpPr>
        <p:spPr>
          <a:xfrm>
            <a:off x="60854" y="1470430"/>
            <a:ext cx="5831441" cy="174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gyan javítsuk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+mj-lt"/>
              <a:buAutoNum type="alphaLcParenR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oljunk emissziós maximumot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Arial" panose="020B0604020202020204" pitchFamily="34" charset="0"/>
              <a:buChar char="•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g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0.5 × (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+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8FD601BA-B408-A10A-BE6A-41C3CA1946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43"/>
          <a:stretch/>
        </p:blipFill>
        <p:spPr bwMode="auto">
          <a:xfrm>
            <a:off x="5018153" y="2539699"/>
            <a:ext cx="4012266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llipszis 11">
            <a:extLst>
              <a:ext uri="{FF2B5EF4-FFF2-40B4-BE49-F238E27FC236}">
                <a16:creationId xmlns:a16="http://schemas.microsoft.com/office/drawing/2014/main" id="{466DDFA5-1898-FC84-04AE-FC6F9EC31D94}"/>
              </a:ext>
            </a:extLst>
          </p:cNvPr>
          <p:cNvSpPr/>
          <p:nvPr/>
        </p:nvSpPr>
        <p:spPr>
          <a:xfrm>
            <a:off x="6631800" y="2676411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Ellipszis 12">
            <a:extLst>
              <a:ext uri="{FF2B5EF4-FFF2-40B4-BE49-F238E27FC236}">
                <a16:creationId xmlns:a16="http://schemas.microsoft.com/office/drawing/2014/main" id="{B3DC0269-7FC1-7952-5E40-5359337F7C03}"/>
              </a:ext>
            </a:extLst>
          </p:cNvPr>
          <p:cNvSpPr/>
          <p:nvPr/>
        </p:nvSpPr>
        <p:spPr>
          <a:xfrm>
            <a:off x="6784200" y="3436170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BE994E41-8EC3-5A3B-E31F-156947A1E19B}"/>
              </a:ext>
            </a:extLst>
          </p:cNvPr>
          <p:cNvSpPr txBox="1"/>
          <p:nvPr/>
        </p:nvSpPr>
        <p:spPr>
          <a:xfrm>
            <a:off x="6905222" y="3681341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rgbClr val="FF0000"/>
                </a:solidFill>
              </a:rPr>
              <a:t>E</a:t>
            </a:r>
            <a:r>
              <a:rPr lang="hu-HU" sz="2400" b="1" baseline="-25000" dirty="0">
                <a:solidFill>
                  <a:srgbClr val="FF0000"/>
                </a:solidFill>
              </a:rPr>
              <a:t>0,0</a:t>
            </a:r>
            <a:endParaRPr lang="hu-HU" sz="2400" b="1" dirty="0">
              <a:solidFill>
                <a:srgbClr val="FF0000"/>
              </a:solidFill>
            </a:endParaRP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E905764A-3DCB-59F6-11E1-81DBDFDCD9BD}"/>
              </a:ext>
            </a:extLst>
          </p:cNvPr>
          <p:cNvSpPr txBox="1"/>
          <p:nvPr/>
        </p:nvSpPr>
        <p:spPr>
          <a:xfrm>
            <a:off x="6087473" y="2226900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FF0000"/>
                </a:solidFill>
              </a:rPr>
              <a:t>E</a:t>
            </a:r>
            <a:r>
              <a:rPr lang="hu-HU" sz="2400" b="1" baseline="-25000" dirty="0" err="1">
                <a:solidFill>
                  <a:srgbClr val="FF0000"/>
                </a:solidFill>
              </a:rPr>
              <a:t>abs</a:t>
            </a:r>
            <a:endParaRPr lang="hu-HU" sz="2400" b="1" dirty="0">
              <a:solidFill>
                <a:srgbClr val="FF0000"/>
              </a:solidFill>
            </a:endParaRPr>
          </a:p>
        </p:txBody>
      </p:sp>
      <p:sp>
        <p:nvSpPr>
          <p:cNvPr id="16" name="Ellipszis 15">
            <a:extLst>
              <a:ext uri="{FF2B5EF4-FFF2-40B4-BE49-F238E27FC236}">
                <a16:creationId xmlns:a16="http://schemas.microsoft.com/office/drawing/2014/main" id="{7D2121A7-FA1A-8589-1CFA-63F09C1D399B}"/>
              </a:ext>
            </a:extLst>
          </p:cNvPr>
          <p:cNvSpPr/>
          <p:nvPr/>
        </p:nvSpPr>
        <p:spPr>
          <a:xfrm>
            <a:off x="6976941" y="2673113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2AA4D383-91AC-9FC2-6EA7-2E1032409F5E}"/>
              </a:ext>
            </a:extLst>
          </p:cNvPr>
          <p:cNvSpPr txBox="1"/>
          <p:nvPr/>
        </p:nvSpPr>
        <p:spPr>
          <a:xfrm>
            <a:off x="7131861" y="2252080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FF0000"/>
                </a:solidFill>
              </a:rPr>
              <a:t>E</a:t>
            </a:r>
            <a:r>
              <a:rPr lang="hu-HU" sz="2400" b="1" baseline="-25000" dirty="0" err="1">
                <a:solidFill>
                  <a:srgbClr val="FF0000"/>
                </a:solidFill>
              </a:rPr>
              <a:t>em</a:t>
            </a:r>
            <a:endParaRPr lang="hu-H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0193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AF680-8E55-CC65-8F57-E2D59221B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B07F161-7841-B632-F77B-F4E5C63F3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F660BF45-20F4-653F-77C1-08779754913D}"/>
              </a:ext>
            </a:extLst>
          </p:cNvPr>
          <p:cNvSpPr/>
          <p:nvPr/>
        </p:nvSpPr>
        <p:spPr>
          <a:xfrm>
            <a:off x="60854" y="1470430"/>
            <a:ext cx="5831441" cy="1931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gyan javítsuk?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+mj-lt"/>
              <a:buAutoNum type="alphaLcParenR"/>
              <a:defRPr sz="1992"/>
            </a:pPr>
            <a:r>
              <a:rPr lang="hu-HU" sz="2000" dirty="0">
                <a:solidFill>
                  <a:schemeClr val="bg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oljunk emissziós maximumot</a:t>
            </a:r>
          </a:p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+mj-lt"/>
              <a:buAutoNum type="alphaLcParenR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kalmazzunk gépi tanulást</a:t>
            </a:r>
          </a:p>
          <a:p>
            <a:pPr marL="1371600" lvl="2" indent="-457200" defTabSz="372888">
              <a:spcBef>
                <a:spcPts val="1100"/>
              </a:spcBef>
              <a:buClr>
                <a:srgbClr val="7373FF"/>
              </a:buClr>
              <a:buFont typeface="Arial" panose="020B0604020202020204" pitchFamily="34" charset="0"/>
              <a:buChar char="•"/>
              <a:defRPr sz="1992"/>
            </a:pP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és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értékek a</a:t>
            </a:r>
            <a:b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ep4Chem adatbázisból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2" descr="3: A. Schematic representation of the absorption and fluorescence... |  Download Scientific Diagram">
            <a:extLst>
              <a:ext uri="{FF2B5EF4-FFF2-40B4-BE49-F238E27FC236}">
                <a16:creationId xmlns:a16="http://schemas.microsoft.com/office/drawing/2014/main" id="{6EB73F55-76D9-52FC-4FCD-238D87D6FD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43"/>
          <a:stretch/>
        </p:blipFill>
        <p:spPr bwMode="auto">
          <a:xfrm>
            <a:off x="5018153" y="2539699"/>
            <a:ext cx="4012266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zis 4">
            <a:extLst>
              <a:ext uri="{FF2B5EF4-FFF2-40B4-BE49-F238E27FC236}">
                <a16:creationId xmlns:a16="http://schemas.microsoft.com/office/drawing/2014/main" id="{2B5A5287-1E50-F425-3CC6-2E42058154CA}"/>
              </a:ext>
            </a:extLst>
          </p:cNvPr>
          <p:cNvSpPr/>
          <p:nvPr/>
        </p:nvSpPr>
        <p:spPr>
          <a:xfrm>
            <a:off x="6631800" y="2676411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Ellipszis 5">
            <a:extLst>
              <a:ext uri="{FF2B5EF4-FFF2-40B4-BE49-F238E27FC236}">
                <a16:creationId xmlns:a16="http://schemas.microsoft.com/office/drawing/2014/main" id="{7F91B4BB-AF68-F3DC-6963-794C90459E13}"/>
              </a:ext>
            </a:extLst>
          </p:cNvPr>
          <p:cNvSpPr/>
          <p:nvPr/>
        </p:nvSpPr>
        <p:spPr>
          <a:xfrm>
            <a:off x="6784200" y="3436170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45D05B6C-747F-ECF8-6E28-1E73B198A576}"/>
              </a:ext>
            </a:extLst>
          </p:cNvPr>
          <p:cNvSpPr txBox="1"/>
          <p:nvPr/>
        </p:nvSpPr>
        <p:spPr>
          <a:xfrm>
            <a:off x="6905222" y="3681341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rgbClr val="FF0000"/>
                </a:solidFill>
              </a:rPr>
              <a:t>E</a:t>
            </a:r>
            <a:r>
              <a:rPr lang="hu-HU" sz="2400" b="1" baseline="-25000" dirty="0">
                <a:solidFill>
                  <a:srgbClr val="FF0000"/>
                </a:solidFill>
              </a:rPr>
              <a:t>0,0</a:t>
            </a:r>
            <a:endParaRPr lang="hu-HU" sz="2400" b="1" dirty="0">
              <a:solidFill>
                <a:srgbClr val="FF0000"/>
              </a:solidFill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8D78636A-4A15-00F3-9FEB-AE4DE2E2BE3B}"/>
              </a:ext>
            </a:extLst>
          </p:cNvPr>
          <p:cNvSpPr txBox="1"/>
          <p:nvPr/>
        </p:nvSpPr>
        <p:spPr>
          <a:xfrm>
            <a:off x="6087473" y="2226900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FF0000"/>
                </a:solidFill>
              </a:rPr>
              <a:t>E</a:t>
            </a:r>
            <a:r>
              <a:rPr lang="hu-HU" sz="2400" b="1" baseline="-25000" dirty="0" err="1">
                <a:solidFill>
                  <a:srgbClr val="FF0000"/>
                </a:solidFill>
              </a:rPr>
              <a:t>abs</a:t>
            </a:r>
            <a:endParaRPr lang="hu-HU" sz="2400" b="1" dirty="0">
              <a:solidFill>
                <a:srgbClr val="FF0000"/>
              </a:solidFill>
            </a:endParaRPr>
          </a:p>
        </p:txBody>
      </p:sp>
      <p:sp>
        <p:nvSpPr>
          <p:cNvPr id="9" name="Ellipszis 8">
            <a:extLst>
              <a:ext uri="{FF2B5EF4-FFF2-40B4-BE49-F238E27FC236}">
                <a16:creationId xmlns:a16="http://schemas.microsoft.com/office/drawing/2014/main" id="{8051B76D-BA9E-3A01-0FF4-AC1FC082EFEC}"/>
              </a:ext>
            </a:extLst>
          </p:cNvPr>
          <p:cNvSpPr/>
          <p:nvPr/>
        </p:nvSpPr>
        <p:spPr>
          <a:xfrm>
            <a:off x="6976941" y="2673113"/>
            <a:ext cx="331694" cy="3182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9B9FEA03-E1D7-FD2F-0E10-D9A230226A26}"/>
              </a:ext>
            </a:extLst>
          </p:cNvPr>
          <p:cNvSpPr txBox="1"/>
          <p:nvPr/>
        </p:nvSpPr>
        <p:spPr>
          <a:xfrm>
            <a:off x="7131861" y="2252080"/>
            <a:ext cx="7799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FF0000"/>
                </a:solidFill>
              </a:rPr>
              <a:t>E</a:t>
            </a:r>
            <a:r>
              <a:rPr lang="hu-HU" sz="2400" b="1" baseline="-25000" dirty="0" err="1">
                <a:solidFill>
                  <a:srgbClr val="FF0000"/>
                </a:solidFill>
              </a:rPr>
              <a:t>em</a:t>
            </a:r>
            <a:endParaRPr lang="hu-H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6576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E09D2-FFD6-626F-8582-96980A041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F62652A-B3C3-C0C9-5313-9EBBF9DBE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DCE21098-8343-D764-9A7F-261B96E48DD5}"/>
              </a:ext>
            </a:extLst>
          </p:cNvPr>
          <p:cNvSpPr/>
          <p:nvPr/>
        </p:nvSpPr>
        <p:spPr>
          <a:xfrm>
            <a:off x="60854" y="1470430"/>
            <a:ext cx="6270935" cy="4752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ep4Chem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atbázis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ci. Data, 2020, 7, 295): 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s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és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→ tanítás az átlagukon (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hu-HU" sz="16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g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utput)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ekulaszerkezeti információt használva</a:t>
            </a:r>
          </a:p>
          <a:p>
            <a:pPr marL="1371600" lvl="2" indent="-457200" defTabSz="372888">
              <a:spcBef>
                <a:spcPts val="1100"/>
              </a:spcBef>
              <a:buClr>
                <a:srgbClr val="7373FF"/>
              </a:buClr>
              <a:buFont typeface="Arial" panose="020B0604020202020204" pitchFamily="34" charset="0"/>
              <a:buChar char="•"/>
              <a:defRPr sz="1992"/>
            </a:pPr>
            <a:r>
              <a:rPr lang="hu-H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ILES → 2048 bit ECFP input</a:t>
            </a:r>
          </a:p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 modell 3 oldószerre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00, 2300, 600 adatpont (ACN, DCM, DMF)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/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x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rmalizálás</a:t>
            </a:r>
          </a:p>
          <a:p>
            <a:pPr marL="457200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szerű NN (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nsorFlow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epChem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: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rejtett réteg 100 neuronnal,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U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ktiválás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opout</a:t>
            </a:r>
            <a:endParaRPr lang="hu-H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am optimalizáló,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r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=0.001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poch</a:t>
            </a:r>
            <a:endParaRPr lang="hu-H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79987B8D-EDB6-7D18-A806-CB1450D967B1}"/>
              </a:ext>
            </a:extLst>
          </p:cNvPr>
          <p:cNvSpPr/>
          <p:nvPr/>
        </p:nvSpPr>
        <p:spPr>
          <a:xfrm>
            <a:off x="6070548" y="2689843"/>
            <a:ext cx="486337" cy="2338308"/>
          </a:xfrm>
          <a:prstGeom prst="rect">
            <a:avLst/>
          </a:prstGeom>
          <a:solidFill>
            <a:schemeClr val="accent4">
              <a:lumMod val="40000"/>
              <a:lumOff val="60000"/>
              <a:alpha val="25098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285E2384-67BF-29DB-6CCB-E6AA35225513}"/>
              </a:ext>
            </a:extLst>
          </p:cNvPr>
          <p:cNvSpPr/>
          <p:nvPr/>
        </p:nvSpPr>
        <p:spPr>
          <a:xfrm>
            <a:off x="6866107" y="3184258"/>
            <a:ext cx="399507" cy="1260756"/>
          </a:xfrm>
          <a:prstGeom prst="rect">
            <a:avLst/>
          </a:prstGeom>
          <a:solidFill>
            <a:schemeClr val="bg1">
              <a:lumMod val="50000"/>
              <a:alpha val="25098"/>
            </a:schemeClr>
          </a:solidFill>
          <a:ln>
            <a:solidFill>
              <a:srgbClr val="FF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2776F2F4-47BD-4255-28AE-40E52A814308}"/>
              </a:ext>
            </a:extLst>
          </p:cNvPr>
          <p:cNvSpPr/>
          <p:nvPr/>
        </p:nvSpPr>
        <p:spPr>
          <a:xfrm>
            <a:off x="7572395" y="3301234"/>
            <a:ext cx="486337" cy="946559"/>
          </a:xfrm>
          <a:prstGeom prst="rect">
            <a:avLst/>
          </a:prstGeom>
          <a:solidFill>
            <a:schemeClr val="accent4">
              <a:lumMod val="40000"/>
              <a:lumOff val="60000"/>
              <a:alpha val="25098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Ellipszis 13">
            <a:extLst>
              <a:ext uri="{FF2B5EF4-FFF2-40B4-BE49-F238E27FC236}">
                <a16:creationId xmlns:a16="http://schemas.microsoft.com/office/drawing/2014/main" id="{2F2E83DD-4601-EA23-70F6-58B07B57F988}"/>
              </a:ext>
            </a:extLst>
          </p:cNvPr>
          <p:cNvSpPr/>
          <p:nvPr/>
        </p:nvSpPr>
        <p:spPr>
          <a:xfrm>
            <a:off x="6158403" y="2828560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Ellipszis 14">
            <a:extLst>
              <a:ext uri="{FF2B5EF4-FFF2-40B4-BE49-F238E27FC236}">
                <a16:creationId xmlns:a16="http://schemas.microsoft.com/office/drawing/2014/main" id="{E892C824-8145-EAD7-4AD8-E2183D1FD4E4}"/>
              </a:ext>
            </a:extLst>
          </p:cNvPr>
          <p:cNvSpPr/>
          <p:nvPr/>
        </p:nvSpPr>
        <p:spPr>
          <a:xfrm>
            <a:off x="6156961" y="3282885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Ellipszis 15">
            <a:extLst>
              <a:ext uri="{FF2B5EF4-FFF2-40B4-BE49-F238E27FC236}">
                <a16:creationId xmlns:a16="http://schemas.microsoft.com/office/drawing/2014/main" id="{DA064F26-5F42-4F25-AE8F-0F601F355B2B}"/>
              </a:ext>
            </a:extLst>
          </p:cNvPr>
          <p:cNvSpPr/>
          <p:nvPr/>
        </p:nvSpPr>
        <p:spPr>
          <a:xfrm>
            <a:off x="6158402" y="3708456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Ellipszis 16">
            <a:extLst>
              <a:ext uri="{FF2B5EF4-FFF2-40B4-BE49-F238E27FC236}">
                <a16:creationId xmlns:a16="http://schemas.microsoft.com/office/drawing/2014/main" id="{2C669781-9BE3-5858-B1BD-55AFFA137677}"/>
              </a:ext>
            </a:extLst>
          </p:cNvPr>
          <p:cNvSpPr/>
          <p:nvPr/>
        </p:nvSpPr>
        <p:spPr>
          <a:xfrm>
            <a:off x="6156962" y="4161138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Ellipszis 17">
            <a:extLst>
              <a:ext uri="{FF2B5EF4-FFF2-40B4-BE49-F238E27FC236}">
                <a16:creationId xmlns:a16="http://schemas.microsoft.com/office/drawing/2014/main" id="{883C4C45-ABFB-1213-EB14-8889811014E1}"/>
              </a:ext>
            </a:extLst>
          </p:cNvPr>
          <p:cNvSpPr>
            <a:spLocks noChangeAspect="1"/>
          </p:cNvSpPr>
          <p:nvPr/>
        </p:nvSpPr>
        <p:spPr>
          <a:xfrm>
            <a:off x="6933470" y="3284990"/>
            <a:ext cx="263968" cy="263968"/>
          </a:xfrm>
          <a:prstGeom prst="ellipse">
            <a:avLst/>
          </a:prstGeom>
          <a:noFill/>
          <a:ln w="28575">
            <a:solidFill>
              <a:srgbClr val="27AE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rgbClr val="00B050"/>
              </a:solidFill>
            </a:endParaRPr>
          </a:p>
        </p:txBody>
      </p:sp>
      <p:sp>
        <p:nvSpPr>
          <p:cNvPr id="19" name="Ellipszis 18">
            <a:extLst>
              <a:ext uri="{FF2B5EF4-FFF2-40B4-BE49-F238E27FC236}">
                <a16:creationId xmlns:a16="http://schemas.microsoft.com/office/drawing/2014/main" id="{74541575-69D4-302F-028F-B25C70DAA301}"/>
              </a:ext>
            </a:extLst>
          </p:cNvPr>
          <p:cNvSpPr>
            <a:spLocks noChangeAspect="1"/>
          </p:cNvSpPr>
          <p:nvPr/>
        </p:nvSpPr>
        <p:spPr>
          <a:xfrm>
            <a:off x="6933469" y="3699059"/>
            <a:ext cx="263968" cy="263968"/>
          </a:xfrm>
          <a:prstGeom prst="ellipse">
            <a:avLst/>
          </a:prstGeom>
          <a:noFill/>
          <a:ln w="28575">
            <a:solidFill>
              <a:srgbClr val="27AE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rgbClr val="00B050"/>
              </a:solidFill>
            </a:endParaRPr>
          </a:p>
        </p:txBody>
      </p:sp>
      <p:sp>
        <p:nvSpPr>
          <p:cNvPr id="20" name="Ellipszis 19">
            <a:extLst>
              <a:ext uri="{FF2B5EF4-FFF2-40B4-BE49-F238E27FC236}">
                <a16:creationId xmlns:a16="http://schemas.microsoft.com/office/drawing/2014/main" id="{6D40B1A2-3881-FCFD-2ABD-8A952A783316}"/>
              </a:ext>
            </a:extLst>
          </p:cNvPr>
          <p:cNvSpPr>
            <a:spLocks noChangeAspect="1"/>
          </p:cNvSpPr>
          <p:nvPr/>
        </p:nvSpPr>
        <p:spPr>
          <a:xfrm>
            <a:off x="6933469" y="4121755"/>
            <a:ext cx="263968" cy="263968"/>
          </a:xfrm>
          <a:prstGeom prst="ellipse">
            <a:avLst/>
          </a:prstGeom>
          <a:noFill/>
          <a:ln w="28575">
            <a:solidFill>
              <a:srgbClr val="27AE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rgbClr val="00B050"/>
              </a:solidFill>
            </a:endParaRPr>
          </a:p>
        </p:txBody>
      </p:sp>
      <p:sp>
        <p:nvSpPr>
          <p:cNvPr id="21" name="Ellipszis 20">
            <a:extLst>
              <a:ext uri="{FF2B5EF4-FFF2-40B4-BE49-F238E27FC236}">
                <a16:creationId xmlns:a16="http://schemas.microsoft.com/office/drawing/2014/main" id="{C03F233C-9636-A17A-8B32-BF8BADBE6543}"/>
              </a:ext>
            </a:extLst>
          </p:cNvPr>
          <p:cNvSpPr/>
          <p:nvPr/>
        </p:nvSpPr>
        <p:spPr>
          <a:xfrm>
            <a:off x="7660289" y="3652721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2" name="Egyenes összekötő 21">
            <a:extLst>
              <a:ext uri="{FF2B5EF4-FFF2-40B4-BE49-F238E27FC236}">
                <a16:creationId xmlns:a16="http://schemas.microsoft.com/office/drawing/2014/main" id="{97B35A15-F1A5-BA51-34F5-0D2D1DFF586B}"/>
              </a:ext>
            </a:extLst>
          </p:cNvPr>
          <p:cNvCxnSpPr>
            <a:cxnSpLocks/>
            <a:stCxn id="14" idx="7"/>
            <a:endCxn id="18" idx="0"/>
          </p:cNvCxnSpPr>
          <p:nvPr/>
        </p:nvCxnSpPr>
        <p:spPr>
          <a:xfrm>
            <a:off x="6423475" y="2874039"/>
            <a:ext cx="641979" cy="4109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22">
            <a:extLst>
              <a:ext uri="{FF2B5EF4-FFF2-40B4-BE49-F238E27FC236}">
                <a16:creationId xmlns:a16="http://schemas.microsoft.com/office/drawing/2014/main" id="{D210E358-69BE-03BA-A0C3-008774DC7E13}"/>
              </a:ext>
            </a:extLst>
          </p:cNvPr>
          <p:cNvCxnSpPr>
            <a:cxnSpLocks/>
            <a:stCxn id="15" idx="6"/>
            <a:endCxn id="19" idx="1"/>
          </p:cNvCxnSpPr>
          <p:nvPr/>
        </p:nvCxnSpPr>
        <p:spPr>
          <a:xfrm>
            <a:off x="6467512" y="3438161"/>
            <a:ext cx="504614" cy="29955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gyenes összekötő 23">
            <a:extLst>
              <a:ext uri="{FF2B5EF4-FFF2-40B4-BE49-F238E27FC236}">
                <a16:creationId xmlns:a16="http://schemas.microsoft.com/office/drawing/2014/main" id="{088226A1-3307-B169-1C3D-A6FEE5434E4A}"/>
              </a:ext>
            </a:extLst>
          </p:cNvPr>
          <p:cNvCxnSpPr>
            <a:cxnSpLocks/>
            <a:stCxn id="16" idx="6"/>
            <a:endCxn id="19" idx="2"/>
          </p:cNvCxnSpPr>
          <p:nvPr/>
        </p:nvCxnSpPr>
        <p:spPr>
          <a:xfrm flipV="1">
            <a:off x="6468953" y="3831043"/>
            <a:ext cx="464516" cy="3268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24">
            <a:extLst>
              <a:ext uri="{FF2B5EF4-FFF2-40B4-BE49-F238E27FC236}">
                <a16:creationId xmlns:a16="http://schemas.microsoft.com/office/drawing/2014/main" id="{1FBBBE18-4BCC-7271-69AF-3161691C39E9}"/>
              </a:ext>
            </a:extLst>
          </p:cNvPr>
          <p:cNvCxnSpPr>
            <a:cxnSpLocks/>
            <a:stCxn id="15" idx="7"/>
            <a:endCxn id="18" idx="1"/>
          </p:cNvCxnSpPr>
          <p:nvPr/>
        </p:nvCxnSpPr>
        <p:spPr>
          <a:xfrm flipV="1">
            <a:off x="6422033" y="3323647"/>
            <a:ext cx="550094" cy="471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gyenes összekötő 25">
            <a:extLst>
              <a:ext uri="{FF2B5EF4-FFF2-40B4-BE49-F238E27FC236}">
                <a16:creationId xmlns:a16="http://schemas.microsoft.com/office/drawing/2014/main" id="{8795C1F4-2E30-689C-E64F-2862988B44DA}"/>
              </a:ext>
            </a:extLst>
          </p:cNvPr>
          <p:cNvCxnSpPr>
            <a:cxnSpLocks/>
            <a:stCxn id="17" idx="6"/>
            <a:endCxn id="19" idx="3"/>
          </p:cNvCxnSpPr>
          <p:nvPr/>
        </p:nvCxnSpPr>
        <p:spPr>
          <a:xfrm flipV="1">
            <a:off x="6467513" y="3924370"/>
            <a:ext cx="504613" cy="3920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gyenes összekötő 26">
            <a:extLst>
              <a:ext uri="{FF2B5EF4-FFF2-40B4-BE49-F238E27FC236}">
                <a16:creationId xmlns:a16="http://schemas.microsoft.com/office/drawing/2014/main" id="{55D75070-FC5F-CB0D-51FC-488129D53902}"/>
              </a:ext>
            </a:extLst>
          </p:cNvPr>
          <p:cNvCxnSpPr>
            <a:cxnSpLocks/>
            <a:stCxn id="17" idx="7"/>
            <a:endCxn id="18" idx="3"/>
          </p:cNvCxnSpPr>
          <p:nvPr/>
        </p:nvCxnSpPr>
        <p:spPr>
          <a:xfrm flipV="1">
            <a:off x="6422034" y="3510301"/>
            <a:ext cx="550093" cy="69631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2E5CB645-397A-D3A2-A9C8-7DD7D2C48E9D}"/>
              </a:ext>
            </a:extLst>
          </p:cNvPr>
          <p:cNvCxnSpPr>
            <a:cxnSpLocks/>
            <a:stCxn id="18" idx="6"/>
            <a:endCxn id="21" idx="1"/>
          </p:cNvCxnSpPr>
          <p:nvPr/>
        </p:nvCxnSpPr>
        <p:spPr>
          <a:xfrm>
            <a:off x="7197438" y="3416974"/>
            <a:ext cx="508330" cy="28122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gyenes összekötő 28">
            <a:extLst>
              <a:ext uri="{FF2B5EF4-FFF2-40B4-BE49-F238E27FC236}">
                <a16:creationId xmlns:a16="http://schemas.microsoft.com/office/drawing/2014/main" id="{A0A13529-6DD0-FFA9-9110-573ED901F0B9}"/>
              </a:ext>
            </a:extLst>
          </p:cNvPr>
          <p:cNvCxnSpPr>
            <a:cxnSpLocks/>
            <a:stCxn id="19" idx="6"/>
            <a:endCxn id="21" idx="2"/>
          </p:cNvCxnSpPr>
          <p:nvPr/>
        </p:nvCxnSpPr>
        <p:spPr>
          <a:xfrm flipV="1">
            <a:off x="7197437" y="3807997"/>
            <a:ext cx="462852" cy="230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6018C4D4-D14C-BBD0-F581-53D180346BDE}"/>
              </a:ext>
            </a:extLst>
          </p:cNvPr>
          <p:cNvCxnSpPr>
            <a:cxnSpLocks/>
            <a:stCxn id="20" idx="6"/>
            <a:endCxn id="21" idx="3"/>
          </p:cNvCxnSpPr>
          <p:nvPr/>
        </p:nvCxnSpPr>
        <p:spPr>
          <a:xfrm flipV="1">
            <a:off x="7197437" y="3917793"/>
            <a:ext cx="508331" cy="3359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lipszis 30">
            <a:extLst>
              <a:ext uri="{FF2B5EF4-FFF2-40B4-BE49-F238E27FC236}">
                <a16:creationId xmlns:a16="http://schemas.microsoft.com/office/drawing/2014/main" id="{3B2C476F-E99B-48A2-3109-A0DADB8A0714}"/>
              </a:ext>
            </a:extLst>
          </p:cNvPr>
          <p:cNvSpPr/>
          <p:nvPr/>
        </p:nvSpPr>
        <p:spPr>
          <a:xfrm>
            <a:off x="6156962" y="4596978"/>
            <a:ext cx="310551" cy="31055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32" name="Egyenes összekötő 31">
            <a:extLst>
              <a:ext uri="{FF2B5EF4-FFF2-40B4-BE49-F238E27FC236}">
                <a16:creationId xmlns:a16="http://schemas.microsoft.com/office/drawing/2014/main" id="{8B49BE4F-02F0-348A-692F-87D75968C2B1}"/>
              </a:ext>
            </a:extLst>
          </p:cNvPr>
          <p:cNvCxnSpPr>
            <a:cxnSpLocks/>
            <a:stCxn id="31" idx="7"/>
            <a:endCxn id="18" idx="3"/>
          </p:cNvCxnSpPr>
          <p:nvPr/>
        </p:nvCxnSpPr>
        <p:spPr>
          <a:xfrm flipV="1">
            <a:off x="6422034" y="3510301"/>
            <a:ext cx="550093" cy="11321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zövegdoboz 32">
            <a:extLst>
              <a:ext uri="{FF2B5EF4-FFF2-40B4-BE49-F238E27FC236}">
                <a16:creationId xmlns:a16="http://schemas.microsoft.com/office/drawing/2014/main" id="{6D6E81FA-D49F-3D36-4A2B-BD454314A32B}"/>
              </a:ext>
            </a:extLst>
          </p:cNvPr>
          <p:cNvSpPr txBox="1"/>
          <p:nvPr/>
        </p:nvSpPr>
        <p:spPr>
          <a:xfrm>
            <a:off x="5812632" y="4991667"/>
            <a:ext cx="100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ut </a:t>
            </a:r>
            <a:r>
              <a:rPr lang="hu-H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er</a:t>
            </a:r>
            <a:b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2048</a:t>
            </a:r>
          </a:p>
        </p:txBody>
      </p:sp>
      <p:sp>
        <p:nvSpPr>
          <p:cNvPr id="34" name="Szövegdoboz 33">
            <a:extLst>
              <a:ext uri="{FF2B5EF4-FFF2-40B4-BE49-F238E27FC236}">
                <a16:creationId xmlns:a16="http://schemas.microsoft.com/office/drawing/2014/main" id="{48419EAF-2A3A-F0C8-8A57-D878A253B1C8}"/>
              </a:ext>
            </a:extLst>
          </p:cNvPr>
          <p:cNvSpPr txBox="1"/>
          <p:nvPr/>
        </p:nvSpPr>
        <p:spPr>
          <a:xfrm>
            <a:off x="6517696" y="2685684"/>
            <a:ext cx="1175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err="1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den</a:t>
            </a:r>
            <a:r>
              <a:rPr lang="hu-HU" sz="1400" dirty="0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400" dirty="0" err="1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er</a:t>
            </a:r>
            <a:br>
              <a:rPr lang="hu-HU" sz="1400" dirty="0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400" dirty="0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100</a:t>
            </a:r>
          </a:p>
        </p:txBody>
      </p:sp>
      <p:sp>
        <p:nvSpPr>
          <p:cNvPr id="35" name="Szövegdoboz 34">
            <a:extLst>
              <a:ext uri="{FF2B5EF4-FFF2-40B4-BE49-F238E27FC236}">
                <a16:creationId xmlns:a16="http://schemas.microsoft.com/office/drawing/2014/main" id="{06876F21-00C2-A2CD-98D4-E15518F051EA}"/>
              </a:ext>
            </a:extLst>
          </p:cNvPr>
          <p:cNvSpPr txBox="1"/>
          <p:nvPr/>
        </p:nvSpPr>
        <p:spPr>
          <a:xfrm>
            <a:off x="7259046" y="4206617"/>
            <a:ext cx="1175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  <a:r>
              <a:rPr lang="hu-H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er</a:t>
            </a:r>
            <a:b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1</a:t>
            </a:r>
          </a:p>
        </p:txBody>
      </p: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599EAD5A-8CC6-88C5-0F4B-9E0840FE1028}"/>
              </a:ext>
            </a:extLst>
          </p:cNvPr>
          <p:cNvCxnSpPr>
            <a:cxnSpLocks/>
            <a:stCxn id="14" idx="5"/>
          </p:cNvCxnSpPr>
          <p:nvPr/>
        </p:nvCxnSpPr>
        <p:spPr>
          <a:xfrm>
            <a:off x="6423475" y="3093632"/>
            <a:ext cx="636545" cy="102812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gyenes összekötő 36">
            <a:extLst>
              <a:ext uri="{FF2B5EF4-FFF2-40B4-BE49-F238E27FC236}">
                <a16:creationId xmlns:a16="http://schemas.microsoft.com/office/drawing/2014/main" id="{0E9ACF2C-81CE-4D05-0A1F-C7A4E50347F6}"/>
              </a:ext>
            </a:extLst>
          </p:cNvPr>
          <p:cNvCxnSpPr>
            <a:cxnSpLocks/>
            <a:stCxn id="14" idx="6"/>
            <a:endCxn id="19" idx="0"/>
          </p:cNvCxnSpPr>
          <p:nvPr/>
        </p:nvCxnSpPr>
        <p:spPr>
          <a:xfrm>
            <a:off x="6468954" y="2983836"/>
            <a:ext cx="596499" cy="71522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gyenes összekötő 37">
            <a:extLst>
              <a:ext uri="{FF2B5EF4-FFF2-40B4-BE49-F238E27FC236}">
                <a16:creationId xmlns:a16="http://schemas.microsoft.com/office/drawing/2014/main" id="{781D55E1-FFDF-EAD7-4A53-58416F2B97A6}"/>
              </a:ext>
            </a:extLst>
          </p:cNvPr>
          <p:cNvCxnSpPr>
            <a:cxnSpLocks/>
            <a:stCxn id="15" idx="5"/>
            <a:endCxn id="20" idx="1"/>
          </p:cNvCxnSpPr>
          <p:nvPr/>
        </p:nvCxnSpPr>
        <p:spPr>
          <a:xfrm>
            <a:off x="6422033" y="3547957"/>
            <a:ext cx="550093" cy="61245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gyenes összekötő 38">
            <a:extLst>
              <a:ext uri="{FF2B5EF4-FFF2-40B4-BE49-F238E27FC236}">
                <a16:creationId xmlns:a16="http://schemas.microsoft.com/office/drawing/2014/main" id="{EA73633B-8AE7-D9C7-7D18-4BD484C04E46}"/>
              </a:ext>
            </a:extLst>
          </p:cNvPr>
          <p:cNvCxnSpPr>
            <a:cxnSpLocks/>
            <a:stCxn id="16" idx="7"/>
            <a:endCxn id="18" idx="2"/>
          </p:cNvCxnSpPr>
          <p:nvPr/>
        </p:nvCxnSpPr>
        <p:spPr>
          <a:xfrm flipV="1">
            <a:off x="6423474" y="3416974"/>
            <a:ext cx="509996" cy="33696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gyenes összekötő 39">
            <a:extLst>
              <a:ext uri="{FF2B5EF4-FFF2-40B4-BE49-F238E27FC236}">
                <a16:creationId xmlns:a16="http://schemas.microsoft.com/office/drawing/2014/main" id="{DDE09E71-A735-2306-F657-F88EA9CDBC24}"/>
              </a:ext>
            </a:extLst>
          </p:cNvPr>
          <p:cNvCxnSpPr>
            <a:cxnSpLocks/>
            <a:stCxn id="16" idx="5"/>
            <a:endCxn id="20" idx="2"/>
          </p:cNvCxnSpPr>
          <p:nvPr/>
        </p:nvCxnSpPr>
        <p:spPr>
          <a:xfrm>
            <a:off x="6423474" y="3973528"/>
            <a:ext cx="509995" cy="28021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>
            <a:extLst>
              <a:ext uri="{FF2B5EF4-FFF2-40B4-BE49-F238E27FC236}">
                <a16:creationId xmlns:a16="http://schemas.microsoft.com/office/drawing/2014/main" id="{9F3C2294-B9EE-3B7F-2265-EEB29B3AE7FB}"/>
              </a:ext>
            </a:extLst>
          </p:cNvPr>
          <p:cNvCxnSpPr>
            <a:cxnSpLocks/>
            <a:stCxn id="17" idx="5"/>
            <a:endCxn id="20" idx="3"/>
          </p:cNvCxnSpPr>
          <p:nvPr/>
        </p:nvCxnSpPr>
        <p:spPr>
          <a:xfrm flipV="1">
            <a:off x="6422034" y="4347066"/>
            <a:ext cx="550092" cy="791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gyenes összekötő 41">
            <a:extLst>
              <a:ext uri="{FF2B5EF4-FFF2-40B4-BE49-F238E27FC236}">
                <a16:creationId xmlns:a16="http://schemas.microsoft.com/office/drawing/2014/main" id="{885A30EC-AFAA-95B2-B134-17DE55A350F4}"/>
              </a:ext>
            </a:extLst>
          </p:cNvPr>
          <p:cNvCxnSpPr>
            <a:cxnSpLocks/>
            <a:stCxn id="31" idx="5"/>
            <a:endCxn id="20" idx="4"/>
          </p:cNvCxnSpPr>
          <p:nvPr/>
        </p:nvCxnSpPr>
        <p:spPr>
          <a:xfrm flipV="1">
            <a:off x="6422034" y="4385723"/>
            <a:ext cx="643419" cy="47632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gyenes összekötő 42">
            <a:extLst>
              <a:ext uri="{FF2B5EF4-FFF2-40B4-BE49-F238E27FC236}">
                <a16:creationId xmlns:a16="http://schemas.microsoft.com/office/drawing/2014/main" id="{D30AFA63-F730-1EE2-C1E0-4038FC272BE8}"/>
              </a:ext>
            </a:extLst>
          </p:cNvPr>
          <p:cNvCxnSpPr>
            <a:cxnSpLocks/>
            <a:endCxn id="19" idx="3"/>
          </p:cNvCxnSpPr>
          <p:nvPr/>
        </p:nvCxnSpPr>
        <p:spPr>
          <a:xfrm flipV="1">
            <a:off x="6485441" y="3924370"/>
            <a:ext cx="486685" cy="77886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gyenes összekötő nyíllal 43">
            <a:extLst>
              <a:ext uri="{FF2B5EF4-FFF2-40B4-BE49-F238E27FC236}">
                <a16:creationId xmlns:a16="http://schemas.microsoft.com/office/drawing/2014/main" id="{14AF7E6D-7301-1643-AD4E-4DFF6F0B259D}"/>
              </a:ext>
            </a:extLst>
          </p:cNvPr>
          <p:cNvCxnSpPr>
            <a:cxnSpLocks/>
          </p:cNvCxnSpPr>
          <p:nvPr/>
        </p:nvCxnSpPr>
        <p:spPr>
          <a:xfrm flipH="1">
            <a:off x="7442440" y="2484069"/>
            <a:ext cx="390007" cy="1026232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zövegdoboz 44">
            <a:extLst>
              <a:ext uri="{FF2B5EF4-FFF2-40B4-BE49-F238E27FC236}">
                <a16:creationId xmlns:a16="http://schemas.microsoft.com/office/drawing/2014/main" id="{238A675C-F7C4-CC5B-EA3F-1CC0F2642AC0}"/>
              </a:ext>
            </a:extLst>
          </p:cNvPr>
          <p:cNvSpPr txBox="1"/>
          <p:nvPr/>
        </p:nvSpPr>
        <p:spPr>
          <a:xfrm>
            <a:off x="7265614" y="2226581"/>
            <a:ext cx="12462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hu-HU" sz="14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out</a:t>
            </a:r>
            <a:endParaRPr lang="hu-HU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323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AE2A4-7215-D188-E8FD-F1C523ED0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3A9C6C9-42C1-2EA9-33A9-E540694B1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L modell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102CF28E-4D39-868A-3EC6-51C2FB0F74EB}"/>
              </a:ext>
            </a:extLst>
          </p:cNvPr>
          <p:cNvSpPr/>
          <p:nvPr/>
        </p:nvSpPr>
        <p:spPr>
          <a:xfrm>
            <a:off x="60854" y="1470430"/>
            <a:ext cx="5831441" cy="2644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perparaméter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ptimálás: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etonitril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atokon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id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arch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r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hu-HU" sz="20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uron</a:t>
            </a:r>
            <a:endParaRPr lang="hu-HU" sz="2000" baseline="-25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rly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opping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hu-HU" sz="2000" baseline="-25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poch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él: adatkészleten kívüli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kció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hető legegyszerűbb modell</a:t>
            </a:r>
          </a:p>
        </p:txBody>
      </p:sp>
      <p:pic>
        <p:nvPicPr>
          <p:cNvPr id="3" name="Kép 2" descr="A képen szöveg, képernyőkép, sor, diagram látható&#10;&#10;Automatikusan generált leírás">
            <a:extLst>
              <a:ext uri="{FF2B5EF4-FFF2-40B4-BE49-F238E27FC236}">
                <a16:creationId xmlns:a16="http://schemas.microsoft.com/office/drawing/2014/main" id="{4C94BE53-93BA-9349-07C5-5C864B81BD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962" y="1733535"/>
            <a:ext cx="5029668" cy="403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165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3A1560-1D43-6AB1-1696-1FF0BB6FB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F498F13-3E4E-8EA3-FCC7-23081C4F3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L modell</a:t>
            </a:r>
          </a:p>
        </p:txBody>
      </p:sp>
      <p:pic>
        <p:nvPicPr>
          <p:cNvPr id="5" name="Kép 4" descr="A képen szöveg, képernyőkép, sor, diagram látható&#10;&#10;Automatikusan generált leírás">
            <a:extLst>
              <a:ext uri="{FF2B5EF4-FFF2-40B4-BE49-F238E27FC236}">
                <a16:creationId xmlns:a16="http://schemas.microsoft.com/office/drawing/2014/main" id="{F79AEE38-F1B3-3603-523D-C50ADB8B3E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45" y="1687567"/>
            <a:ext cx="4341397" cy="3482865"/>
          </a:xfrm>
          <a:prstGeom prst="rect">
            <a:avLst/>
          </a:prstGeom>
        </p:spPr>
      </p:pic>
      <p:pic>
        <p:nvPicPr>
          <p:cNvPr id="6" name="Kép 5" descr="A képen szöveg, képernyőkép, diagram, sor látható&#10;&#10;Automatikusan generált leírás">
            <a:extLst>
              <a:ext uri="{FF2B5EF4-FFF2-40B4-BE49-F238E27FC236}">
                <a16:creationId xmlns:a16="http://schemas.microsoft.com/office/drawing/2014/main" id="{D21ED7C2-603A-1591-5C74-6747407CDE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44" y="65919"/>
            <a:ext cx="4394341" cy="3525339"/>
          </a:xfrm>
          <a:prstGeom prst="rect">
            <a:avLst/>
          </a:prstGeom>
        </p:spPr>
      </p:pic>
      <p:pic>
        <p:nvPicPr>
          <p:cNvPr id="7" name="Kép 6" descr="A képen szöveg, képernyőkép, sor, diagram látható&#10;&#10;Automatikusan generált leírás">
            <a:extLst>
              <a:ext uri="{FF2B5EF4-FFF2-40B4-BE49-F238E27FC236}">
                <a16:creationId xmlns:a16="http://schemas.microsoft.com/office/drawing/2014/main" id="{1C9C338B-E4D6-247D-7BD2-D71783AB6B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43" y="3325072"/>
            <a:ext cx="4394341" cy="3532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3109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B5F15-41EC-E41A-9684-5AE6AB68F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50708CF-C131-4054-7E89-FE5B2852A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jobb modell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E8B74981-F69E-58BD-7E8C-A541794CCB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62"/>
          <a:stretch/>
        </p:blipFill>
        <p:spPr>
          <a:xfrm>
            <a:off x="5784267" y="0"/>
            <a:ext cx="4121733" cy="6858000"/>
          </a:xfrm>
          <a:prstGeom prst="rect">
            <a:avLst/>
          </a:prstGeom>
        </p:spPr>
      </p:pic>
      <p:sp>
        <p:nvSpPr>
          <p:cNvPr id="4" name="Téglalap 3">
            <a:extLst>
              <a:ext uri="{FF2B5EF4-FFF2-40B4-BE49-F238E27FC236}">
                <a16:creationId xmlns:a16="http://schemas.microsoft.com/office/drawing/2014/main" id="{7357769A-0F5B-917C-3677-6E9BCAA34082}"/>
              </a:ext>
            </a:extLst>
          </p:cNvPr>
          <p:cNvSpPr/>
          <p:nvPr/>
        </p:nvSpPr>
        <p:spPr>
          <a:xfrm>
            <a:off x="60854" y="1470430"/>
            <a:ext cx="3831353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062X: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győztes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06: 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DDFT győztes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77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89C18-878F-F14E-9869-AF488723F2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DCC4296-819D-C86A-6A8E-BA4F1D3B4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7D462F68-0152-F625-E7DA-87305BE67C0E}"/>
              </a:ext>
            </a:extLst>
          </p:cNvPr>
          <p:cNvSpPr/>
          <p:nvPr/>
        </p:nvSpPr>
        <p:spPr>
          <a:xfrm>
            <a:off x="60853" y="1470430"/>
            <a:ext cx="6823025" cy="1153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molekulák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tiválása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elektron-transzfer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ET)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lyamatban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4862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1FE53-9926-C4F5-D8ED-0E5F33F13C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36DFE1F-34DB-6319-4DD0-91519DD0B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jobb modell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ED68FBD0-3F0B-5796-482A-A6D6FFD17C71}"/>
              </a:ext>
            </a:extLst>
          </p:cNvPr>
          <p:cNvSpPr/>
          <p:nvPr/>
        </p:nvSpPr>
        <p:spPr>
          <a:xfrm>
            <a:off x="60854" y="1470430"/>
            <a:ext cx="4252354" cy="1156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L egyértelműen segít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jobb M062X + ML modellben nincs extra paraméter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B804F3C8-3B54-D08A-452B-B91FF8B957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390" y="3116926"/>
            <a:ext cx="7611136" cy="2789533"/>
          </a:xfrm>
          <a:prstGeom prst="rect">
            <a:avLst/>
          </a:prstGeom>
        </p:spPr>
      </p:pic>
      <p:sp>
        <p:nvSpPr>
          <p:cNvPr id="6" name="Téglalap 5">
            <a:extLst>
              <a:ext uri="{FF2B5EF4-FFF2-40B4-BE49-F238E27FC236}">
                <a16:creationId xmlns:a16="http://schemas.microsoft.com/office/drawing/2014/main" id="{A7FC0D7E-90D8-C9AF-213C-01C308E320F8}"/>
              </a:ext>
            </a:extLst>
          </p:cNvPr>
          <p:cNvSpPr/>
          <p:nvPr/>
        </p:nvSpPr>
        <p:spPr>
          <a:xfrm>
            <a:off x="1730699" y="4794088"/>
            <a:ext cx="1210232" cy="6544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ED79E209-E6C0-DED5-3E50-B42F27AACF73}"/>
              </a:ext>
            </a:extLst>
          </p:cNvPr>
          <p:cNvSpPr txBox="1"/>
          <p:nvPr/>
        </p:nvSpPr>
        <p:spPr>
          <a:xfrm>
            <a:off x="0" y="4055992"/>
            <a:ext cx="17906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ncs OPC  adatkészlet specifikus paraméter!</a:t>
            </a:r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D1DDAF4F-0CA1-023C-783E-5831F5B78408}"/>
              </a:ext>
            </a:extLst>
          </p:cNvPr>
          <p:cNvSpPr/>
          <p:nvPr/>
        </p:nvSpPr>
        <p:spPr>
          <a:xfrm>
            <a:off x="6679217" y="3350770"/>
            <a:ext cx="1156443" cy="6544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0" name="Egyenes összekötő nyíllal 9">
            <a:extLst>
              <a:ext uri="{FF2B5EF4-FFF2-40B4-BE49-F238E27FC236}">
                <a16:creationId xmlns:a16="http://schemas.microsoft.com/office/drawing/2014/main" id="{5FB74307-07F4-DE4F-0034-2C4EFA96B500}"/>
              </a:ext>
            </a:extLst>
          </p:cNvPr>
          <p:cNvCxnSpPr>
            <a:cxnSpLocks/>
          </p:cNvCxnSpPr>
          <p:nvPr/>
        </p:nvCxnSpPr>
        <p:spPr>
          <a:xfrm flipH="1">
            <a:off x="7934271" y="3677980"/>
            <a:ext cx="761155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5D0BCD92-A829-9E24-4A8A-CEE66039A819}"/>
              </a:ext>
            </a:extLst>
          </p:cNvPr>
          <p:cNvSpPr txBox="1"/>
          <p:nvPr/>
        </p:nvSpPr>
        <p:spPr>
          <a:xfrm>
            <a:off x="8704221" y="3429000"/>
            <a:ext cx="12017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L nélküli legjobb</a:t>
            </a:r>
          </a:p>
        </p:txBody>
      </p:sp>
      <p:cxnSp>
        <p:nvCxnSpPr>
          <p:cNvPr id="7" name="Egyenes összekötő nyíllal 6">
            <a:extLst>
              <a:ext uri="{FF2B5EF4-FFF2-40B4-BE49-F238E27FC236}">
                <a16:creationId xmlns:a16="http://schemas.microsoft.com/office/drawing/2014/main" id="{CA218638-FE07-E659-2C77-6581834B79A8}"/>
              </a:ext>
            </a:extLst>
          </p:cNvPr>
          <p:cNvCxnSpPr>
            <a:cxnSpLocks/>
          </p:cNvCxnSpPr>
          <p:nvPr/>
        </p:nvCxnSpPr>
        <p:spPr>
          <a:xfrm>
            <a:off x="1225550" y="4743450"/>
            <a:ext cx="438845" cy="21648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25812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DFF1F-E73A-E0D2-492D-2CE0A17A6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0C584A7-C3FC-4AF8-DAD7-2EE7AD3B2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jobb modell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0BC1980C-7BBA-1615-F636-C4808FEC9F27}"/>
              </a:ext>
            </a:extLst>
          </p:cNvPr>
          <p:cNvSpPr/>
          <p:nvPr/>
        </p:nvSpPr>
        <p:spPr>
          <a:xfrm>
            <a:off x="60854" y="1470430"/>
            <a:ext cx="42523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yakorlatban: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artományok becslése</a:t>
            </a:r>
          </a:p>
        </p:txBody>
      </p:sp>
      <p:graphicFrame>
        <p:nvGraphicFramePr>
          <p:cNvPr id="3" name="Objektum 2">
            <a:extLst>
              <a:ext uri="{FF2B5EF4-FFF2-40B4-BE49-F238E27FC236}">
                <a16:creationId xmlns:a16="http://schemas.microsoft.com/office/drawing/2014/main" id="{E8833EBC-70B8-CDDF-2523-3B41761ECC7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47369254"/>
              </p:ext>
            </p:extLst>
          </p:nvPr>
        </p:nvGraphicFramePr>
        <p:xfrm>
          <a:off x="60854" y="2429546"/>
          <a:ext cx="5472953" cy="41997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5319888" imgH="4058148" progId="ChemDraw.Document.6.0">
                  <p:embed/>
                </p:oleObj>
              </mc:Choice>
              <mc:Fallback>
                <p:oleObj r:id="rId2" imgW="5319888" imgH="4058148" progId="ChemDraw.Document.6.0">
                  <p:embed/>
                  <p:pic>
                    <p:nvPicPr>
                      <p:cNvPr id="13" name="Objektum 12">
                        <a:extLst>
                          <a:ext uri="{FF2B5EF4-FFF2-40B4-BE49-F238E27FC236}">
                            <a16:creationId xmlns:a16="http://schemas.microsoft.com/office/drawing/2014/main" id="{6516312E-A51E-CA2F-8428-586A943CA5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854" y="2429546"/>
                        <a:ext cx="5472953" cy="419978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ép 11">
            <a:extLst>
              <a:ext uri="{FF2B5EF4-FFF2-40B4-BE49-F238E27FC236}">
                <a16:creationId xmlns:a16="http://schemas.microsoft.com/office/drawing/2014/main" id="{9B188113-B386-3055-DD36-212AA9AA3A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040" y="0"/>
            <a:ext cx="4279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9618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688E5-B03E-E798-2DCA-AC0D479CD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08A7E7C-1496-7DDC-FD9B-8D38832FD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Összefoglalás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D44A5B3E-EC9D-D97D-1CBC-1CE99B605A1C}"/>
              </a:ext>
            </a:extLst>
          </p:cNvPr>
          <p:cNvSpPr/>
          <p:nvPr/>
        </p:nvSpPr>
        <p:spPr>
          <a:xfrm>
            <a:off x="60854" y="1470430"/>
            <a:ext cx="7539018" cy="5134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 kulcsa: gerjesztett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ítható alapállapoti </a:t>
            </a:r>
            <a:r>
              <a:rPr lang="hu-HU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ból + 0-0 energiából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FT benchmark alapállapotra: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brid funkcionálok jól teljesítenek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kcionál és töltés függő paraméterekkel javítható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energia számolása</a:t>
            </a:r>
          </a:p>
          <a:p>
            <a:pPr marL="800100" lvl="1" indent="-34290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FT helyett ML: nem kell korrekciós paraméter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jobb modell: M062X alapállapotra + </a:t>
            </a:r>
            <a:b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L 0-0 energiár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vábbi tervek: </a:t>
            </a:r>
          </a:p>
          <a:p>
            <a:pPr marL="742950" lvl="1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z E</a:t>
            </a:r>
            <a:r>
              <a:rPr lang="hu-HU" sz="1600" baseline="-25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jósló ML modell optimálása </a:t>
            </a:r>
          </a:p>
          <a:p>
            <a:pPr marL="742950" lvl="1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v"/>
              <a:defRPr sz="1992"/>
            </a:pPr>
            <a:r>
              <a:rPr lang="hu-H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ljesen ML modell fejlesztése potenciál jóslásra</a:t>
            </a:r>
          </a:p>
        </p:txBody>
      </p:sp>
      <p:pic>
        <p:nvPicPr>
          <p:cNvPr id="3" name="Ábra 2">
            <a:extLst>
              <a:ext uri="{FF2B5EF4-FFF2-40B4-BE49-F238E27FC236}">
                <a16:creationId xmlns:a16="http://schemas.microsoft.com/office/drawing/2014/main" id="{8A01B554-96EA-E37D-C428-AB2F89406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63505" y="3602995"/>
            <a:ext cx="3063729" cy="3063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318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4601"/>
            <a:ext cx="9904440" cy="646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483" name="Text Box 2"/>
          <p:cNvSpPr txBox="1">
            <a:spLocks noChangeArrowheads="1"/>
          </p:cNvSpPr>
          <p:nvPr/>
        </p:nvSpPr>
        <p:spPr bwMode="auto">
          <a:xfrm>
            <a:off x="4159361" y="4519925"/>
            <a:ext cx="3867039" cy="162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5527" tIns="42764" rIns="85527" bIns="42764"/>
          <a:lstStyle>
            <a:lvl1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1pPr>
            <a:lvl2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2pPr>
            <a:lvl3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3pPr>
            <a:lvl4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4pPr>
            <a:lvl5pPr>
              <a:lnSpc>
                <a:spcPct val="11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11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>
                <a:solidFill>
                  <a:schemeClr val="tx1"/>
                </a:solidFill>
                <a:latin typeface="Open Sans" pitchFamily="32" charset="0"/>
                <a:cs typeface="Arial Unicode MS" charset="0"/>
              </a:defRPr>
            </a:lvl9pPr>
          </a:lstStyle>
          <a:p>
            <a:pPr eaLnBrk="1">
              <a:lnSpc>
                <a:spcPct val="150000"/>
              </a:lnSpc>
              <a:spcBef>
                <a:spcPts val="0"/>
              </a:spcBef>
            </a:pPr>
            <a:r>
              <a:rPr lang="hu-HU" altLang="hu-HU" sz="3400" b="1" dirty="0">
                <a:solidFill>
                  <a:schemeClr val="bg1"/>
                </a:solidFill>
              </a:rPr>
              <a:t>Fehér Péter Pál</a:t>
            </a:r>
          </a:p>
          <a:p>
            <a:pPr eaLnBrk="1">
              <a:lnSpc>
                <a:spcPct val="150000"/>
              </a:lnSpc>
              <a:spcBef>
                <a:spcPts val="0"/>
              </a:spcBef>
            </a:pPr>
            <a:r>
              <a:rPr lang="hu-HU" altLang="hu-HU" sz="2000" b="1" dirty="0">
                <a:solidFill>
                  <a:schemeClr val="bg1"/>
                </a:solidFill>
              </a:rPr>
              <a:t>feher.peter@ttk.hu</a:t>
            </a:r>
            <a:endParaRPr lang="hu-HU" altLang="hu-HU" sz="3400" b="1" dirty="0">
              <a:solidFill>
                <a:schemeClr val="bg1"/>
              </a:solidFill>
            </a:endParaRPr>
          </a:p>
        </p:txBody>
      </p:sp>
      <p:sp>
        <p:nvSpPr>
          <p:cNvPr id="3" name="AutoShape 4" descr="Facebook Ikon Szimbólum - Ingyenes vektorgrafika a Pixabay-e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5" name="AutoShape 6" descr="Facebook Ikon Szimbólum - Ingyenes vektorgrafika a Pixabay-e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AutoShape 8" descr="Facebook Ikon Szimbólum - Ingyenes vektorgrafika a Pixabay-en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8" name="Kép 7">
            <a:hlinkClick r:id="rId4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809" y="200818"/>
            <a:ext cx="815182" cy="815182"/>
          </a:xfrm>
          <a:prstGeom prst="rect">
            <a:avLst/>
          </a:prstGeom>
        </p:spPr>
      </p:pic>
      <p:pic>
        <p:nvPicPr>
          <p:cNvPr id="9" name="Kép 8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584" y="158749"/>
            <a:ext cx="1233157" cy="857251"/>
          </a:xfrm>
          <a:prstGeom prst="rect">
            <a:avLst/>
          </a:prstGeom>
        </p:spPr>
      </p:pic>
      <p:pic>
        <p:nvPicPr>
          <p:cNvPr id="4" name="Kép 3" descr="A képen Betűtípus, Grafika, embléma, szöveg látható&#10;&#10;Automatikusan generált leírás">
            <a:extLst>
              <a:ext uri="{FF2B5EF4-FFF2-40B4-BE49-F238E27FC236}">
                <a16:creationId xmlns:a16="http://schemas.microsoft.com/office/drawing/2014/main" id="{BBCF6660-9342-BA28-49E3-A14603024D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02" y="220061"/>
            <a:ext cx="2517413" cy="87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4732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B0DA8C-35C1-4416-8161-C6109875A7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CD5AF4C-931B-041B-03EB-EF38DCEC3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</a:t>
            </a: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C7A0871B-D611-E6BC-A00A-5F530A722F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8973" y="1946686"/>
            <a:ext cx="5858620" cy="435133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Szabadkéz 7">
                <a:extLst>
                  <a:ext uri="{FF2B5EF4-FFF2-40B4-BE49-F238E27FC236}">
                    <a16:creationId xmlns:a16="http://schemas.microsoft.com/office/drawing/2014/main" id="{EA7F4AF3-758C-D7ED-F4F1-97CC674E23AE}"/>
                  </a:ext>
                </a:extLst>
              </p14:cNvPr>
              <p14:cNvContentPartPr/>
              <p14:nvPr/>
            </p14:nvContentPartPr>
            <p14:xfrm>
              <a:off x="6813360" y="2810914"/>
              <a:ext cx="788400" cy="666720"/>
            </p14:xfrm>
          </p:contentPart>
        </mc:Choice>
        <mc:Fallback xmlns="">
          <p:pic>
            <p:nvPicPr>
              <p:cNvPr id="8" name="Szabadkéz 7">
                <a:extLst>
                  <a:ext uri="{FF2B5EF4-FFF2-40B4-BE49-F238E27FC236}">
                    <a16:creationId xmlns:a16="http://schemas.microsoft.com/office/drawing/2014/main" id="{EA7F4AF3-758C-D7ED-F4F1-97CC674E23A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07240" y="2804794"/>
                <a:ext cx="800640" cy="67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2" name="Szabadkéz 11">
                <a:extLst>
                  <a:ext uri="{FF2B5EF4-FFF2-40B4-BE49-F238E27FC236}">
                    <a16:creationId xmlns:a16="http://schemas.microsoft.com/office/drawing/2014/main" id="{8482E0E9-59FF-D846-4D32-951D1F0F601B}"/>
                  </a:ext>
                </a:extLst>
              </p14:cNvPr>
              <p14:cNvContentPartPr/>
              <p14:nvPr/>
            </p14:nvContentPartPr>
            <p14:xfrm>
              <a:off x="4044240" y="5527474"/>
              <a:ext cx="1163520" cy="996120"/>
            </p14:xfrm>
          </p:contentPart>
        </mc:Choice>
        <mc:Fallback xmlns="">
          <p:pic>
            <p:nvPicPr>
              <p:cNvPr id="12" name="Szabadkéz 11">
                <a:extLst>
                  <a:ext uri="{FF2B5EF4-FFF2-40B4-BE49-F238E27FC236}">
                    <a16:creationId xmlns:a16="http://schemas.microsoft.com/office/drawing/2014/main" id="{8482E0E9-59FF-D846-4D32-951D1F0F601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38120" y="5521354"/>
                <a:ext cx="1175760" cy="1008360"/>
              </a:xfrm>
              <a:prstGeom prst="rect">
                <a:avLst/>
              </a:prstGeom>
            </p:spPr>
          </p:pic>
        </mc:Fallback>
      </mc:AlternateContent>
      <p:grpSp>
        <p:nvGrpSpPr>
          <p:cNvPr id="15" name="Csoportba foglalás 14">
            <a:extLst>
              <a:ext uri="{FF2B5EF4-FFF2-40B4-BE49-F238E27FC236}">
                <a16:creationId xmlns:a16="http://schemas.microsoft.com/office/drawing/2014/main" id="{B72CF95D-F0A7-7E49-FC4E-54717A9CE101}"/>
              </a:ext>
            </a:extLst>
          </p:cNvPr>
          <p:cNvGrpSpPr/>
          <p:nvPr/>
        </p:nvGrpSpPr>
        <p:grpSpPr>
          <a:xfrm>
            <a:off x="4873680" y="3312034"/>
            <a:ext cx="1950120" cy="2201040"/>
            <a:chOff x="3148397" y="3424177"/>
            <a:chExt cx="1950120" cy="2201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3" name="Szabadkéz 12">
                  <a:extLst>
                    <a:ext uri="{FF2B5EF4-FFF2-40B4-BE49-F238E27FC236}">
                      <a16:creationId xmlns:a16="http://schemas.microsoft.com/office/drawing/2014/main" id="{C6E3B449-A7DC-9D5B-187D-4787C9C2C93B}"/>
                    </a:ext>
                  </a:extLst>
                </p14:cNvPr>
                <p14:cNvContentPartPr/>
                <p14:nvPr/>
              </p14:nvContentPartPr>
              <p14:xfrm>
                <a:off x="3251717" y="3424177"/>
                <a:ext cx="1846800" cy="2139120"/>
              </p14:xfrm>
            </p:contentPart>
          </mc:Choice>
          <mc:Fallback xmlns="">
            <p:pic>
              <p:nvPicPr>
                <p:cNvPr id="13" name="Szabadkéz 12">
                  <a:extLst>
                    <a:ext uri="{FF2B5EF4-FFF2-40B4-BE49-F238E27FC236}">
                      <a16:creationId xmlns:a16="http://schemas.microsoft.com/office/drawing/2014/main" id="{C6E3B449-A7DC-9D5B-187D-4787C9C2C93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245596" y="3418058"/>
                  <a:ext cx="1859042" cy="215135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4" name="Szabadkéz 13">
                  <a:extLst>
                    <a:ext uri="{FF2B5EF4-FFF2-40B4-BE49-F238E27FC236}">
                      <a16:creationId xmlns:a16="http://schemas.microsoft.com/office/drawing/2014/main" id="{6A90729B-5793-D8AF-DA73-08FBE7FE96BB}"/>
                    </a:ext>
                  </a:extLst>
                </p14:cNvPr>
                <p14:cNvContentPartPr/>
                <p14:nvPr/>
              </p14:nvContentPartPr>
              <p14:xfrm>
                <a:off x="3148397" y="5468977"/>
                <a:ext cx="281880" cy="156240"/>
              </p14:xfrm>
            </p:contentPart>
          </mc:Choice>
          <mc:Fallback xmlns="">
            <p:pic>
              <p:nvPicPr>
                <p:cNvPr id="14" name="Szabadkéz 13">
                  <a:extLst>
                    <a:ext uri="{FF2B5EF4-FFF2-40B4-BE49-F238E27FC236}">
                      <a16:creationId xmlns:a16="http://schemas.microsoft.com/office/drawing/2014/main" id="{6A90729B-5793-D8AF-DA73-08FBE7FE96BB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142269" y="5462857"/>
                  <a:ext cx="294136" cy="168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" name="Csoportba foglalás 17">
            <a:extLst>
              <a:ext uri="{FF2B5EF4-FFF2-40B4-BE49-F238E27FC236}">
                <a16:creationId xmlns:a16="http://schemas.microsoft.com/office/drawing/2014/main" id="{00B73350-7073-7753-DB1D-64196F75AF60}"/>
              </a:ext>
            </a:extLst>
          </p:cNvPr>
          <p:cNvGrpSpPr/>
          <p:nvPr/>
        </p:nvGrpSpPr>
        <p:grpSpPr>
          <a:xfrm>
            <a:off x="5115240" y="3829714"/>
            <a:ext cx="260280" cy="250920"/>
            <a:chOff x="3389957" y="3941857"/>
            <a:chExt cx="260280" cy="250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6" name="Szabadkéz 15">
                  <a:extLst>
                    <a:ext uri="{FF2B5EF4-FFF2-40B4-BE49-F238E27FC236}">
                      <a16:creationId xmlns:a16="http://schemas.microsoft.com/office/drawing/2014/main" id="{4554C2E6-B81C-4151-09EE-1B7799F66CEC}"/>
                    </a:ext>
                  </a:extLst>
                </p14:cNvPr>
                <p14:cNvContentPartPr/>
                <p14:nvPr/>
              </p14:nvContentPartPr>
              <p14:xfrm>
                <a:off x="3389957" y="4009177"/>
                <a:ext cx="154800" cy="183600"/>
              </p14:xfrm>
            </p:contentPart>
          </mc:Choice>
          <mc:Fallback xmlns="">
            <p:pic>
              <p:nvPicPr>
                <p:cNvPr id="16" name="Szabadkéz 15">
                  <a:extLst>
                    <a:ext uri="{FF2B5EF4-FFF2-40B4-BE49-F238E27FC236}">
                      <a16:creationId xmlns:a16="http://schemas.microsoft.com/office/drawing/2014/main" id="{4554C2E6-B81C-4151-09EE-1B7799F66CEC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383837" y="4003057"/>
                  <a:ext cx="16704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7" name="Szabadkéz 16">
                  <a:extLst>
                    <a:ext uri="{FF2B5EF4-FFF2-40B4-BE49-F238E27FC236}">
                      <a16:creationId xmlns:a16="http://schemas.microsoft.com/office/drawing/2014/main" id="{7795F145-D379-BD21-AEDA-EE02DAFEEA6B}"/>
                    </a:ext>
                  </a:extLst>
                </p14:cNvPr>
                <p14:cNvContentPartPr/>
                <p14:nvPr/>
              </p14:nvContentPartPr>
              <p14:xfrm>
                <a:off x="3536837" y="3941857"/>
                <a:ext cx="113400" cy="7200"/>
              </p14:xfrm>
            </p:contentPart>
          </mc:Choice>
          <mc:Fallback xmlns="">
            <p:pic>
              <p:nvPicPr>
                <p:cNvPr id="17" name="Szabadkéz 16">
                  <a:extLst>
                    <a:ext uri="{FF2B5EF4-FFF2-40B4-BE49-F238E27FC236}">
                      <a16:creationId xmlns:a16="http://schemas.microsoft.com/office/drawing/2014/main" id="{7795F145-D379-BD21-AEDA-EE02DAFEEA6B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3530717" y="3935737"/>
                  <a:ext cx="125640" cy="19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" name="Csoportba foglalás 20">
            <a:extLst>
              <a:ext uri="{FF2B5EF4-FFF2-40B4-BE49-F238E27FC236}">
                <a16:creationId xmlns:a16="http://schemas.microsoft.com/office/drawing/2014/main" id="{CF7D6F91-851C-23D2-F14B-5D13097AAB6D}"/>
              </a:ext>
            </a:extLst>
          </p:cNvPr>
          <p:cNvGrpSpPr/>
          <p:nvPr/>
        </p:nvGrpSpPr>
        <p:grpSpPr>
          <a:xfrm>
            <a:off x="5304960" y="5882794"/>
            <a:ext cx="1131840" cy="324720"/>
            <a:chOff x="3579677" y="5994937"/>
            <a:chExt cx="1131840" cy="324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9" name="Szabadkéz 18">
                  <a:extLst>
                    <a:ext uri="{FF2B5EF4-FFF2-40B4-BE49-F238E27FC236}">
                      <a16:creationId xmlns:a16="http://schemas.microsoft.com/office/drawing/2014/main" id="{435C8F2B-6ED9-3A0A-B69A-6259394AA680}"/>
                    </a:ext>
                  </a:extLst>
                </p14:cNvPr>
                <p14:cNvContentPartPr/>
                <p14:nvPr/>
              </p14:nvContentPartPr>
              <p14:xfrm>
                <a:off x="3579677" y="6133897"/>
                <a:ext cx="1078560" cy="43560"/>
              </p14:xfrm>
            </p:contentPart>
          </mc:Choice>
          <mc:Fallback xmlns="">
            <p:pic>
              <p:nvPicPr>
                <p:cNvPr id="19" name="Szabadkéz 18">
                  <a:extLst>
                    <a:ext uri="{FF2B5EF4-FFF2-40B4-BE49-F238E27FC236}">
                      <a16:creationId xmlns:a16="http://schemas.microsoft.com/office/drawing/2014/main" id="{435C8F2B-6ED9-3A0A-B69A-6259394AA68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3573557" y="6127777"/>
                  <a:ext cx="109080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20" name="Szabadkéz 19">
                  <a:extLst>
                    <a:ext uri="{FF2B5EF4-FFF2-40B4-BE49-F238E27FC236}">
                      <a16:creationId xmlns:a16="http://schemas.microsoft.com/office/drawing/2014/main" id="{31EF950C-1332-7BA4-9388-321885B996DB}"/>
                    </a:ext>
                  </a:extLst>
                </p14:cNvPr>
                <p14:cNvContentPartPr/>
                <p14:nvPr/>
              </p14:nvContentPartPr>
              <p14:xfrm>
                <a:off x="4526117" y="5994937"/>
                <a:ext cx="185400" cy="324720"/>
              </p14:xfrm>
            </p:contentPart>
          </mc:Choice>
          <mc:Fallback xmlns="">
            <p:pic>
              <p:nvPicPr>
                <p:cNvPr id="20" name="Szabadkéz 19">
                  <a:extLst>
                    <a:ext uri="{FF2B5EF4-FFF2-40B4-BE49-F238E27FC236}">
                      <a16:creationId xmlns:a16="http://schemas.microsoft.com/office/drawing/2014/main" id="{31EF950C-1332-7BA4-9388-321885B996DB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519997" y="5988817"/>
                  <a:ext cx="197640" cy="33696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4" name="Téglalap 3">
            <a:extLst>
              <a:ext uri="{FF2B5EF4-FFF2-40B4-BE49-F238E27FC236}">
                <a16:creationId xmlns:a16="http://schemas.microsoft.com/office/drawing/2014/main" id="{1AA9B14F-AD5A-7E5B-D1B1-4E8E40DC24AE}"/>
              </a:ext>
            </a:extLst>
          </p:cNvPr>
          <p:cNvSpPr/>
          <p:nvPr/>
        </p:nvSpPr>
        <p:spPr>
          <a:xfrm>
            <a:off x="60853" y="1470430"/>
            <a:ext cx="6823025" cy="2354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molekulák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tiválása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elektron-transzfer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ET)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lyamatban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től más mint alapállapotban?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rmikusan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érhetetlen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kciók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154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F5098-E4F3-A4CF-7B9F-FE62BF8D45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12B71F-DF74-A7C9-846F-153944943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02B7C9DF-E542-1393-20D8-D57733A97C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4438" y="1728471"/>
            <a:ext cx="7041562" cy="5129529"/>
          </a:xfrm>
          <a:prstGeom prst="rect">
            <a:avLst/>
          </a:prstGeom>
        </p:spPr>
      </p:pic>
      <p:sp>
        <p:nvSpPr>
          <p:cNvPr id="4" name="Téglalap 3">
            <a:extLst>
              <a:ext uri="{FF2B5EF4-FFF2-40B4-BE49-F238E27FC236}">
                <a16:creationId xmlns:a16="http://schemas.microsoft.com/office/drawing/2014/main" id="{2F107123-5957-B1CE-13AC-A2D46BF2B922}"/>
              </a:ext>
            </a:extLst>
          </p:cNvPr>
          <p:cNvSpPr/>
          <p:nvPr/>
        </p:nvSpPr>
        <p:spPr>
          <a:xfrm>
            <a:off x="60853" y="1470430"/>
            <a:ext cx="6823025" cy="3109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molekulák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tiválása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elektron-transzfer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ET)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lyamatban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től más mint alapállapotban?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rmikusan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érhetetlen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kciók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uper-redukáló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erves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katalizátorok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96A62376-5D55-1239-2061-DD277AD9CFC4}"/>
              </a:ext>
            </a:extLst>
          </p:cNvPr>
          <p:cNvSpPr txBox="1"/>
          <p:nvPr/>
        </p:nvSpPr>
        <p:spPr>
          <a:xfrm>
            <a:off x="6291986" y="2393457"/>
            <a:ext cx="36140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i="1" dirty="0" err="1"/>
              <a:t>Angew</a:t>
            </a:r>
            <a:r>
              <a:rPr lang="de-DE" sz="1200" i="1" dirty="0"/>
              <a:t>. Chem. Int. Ed.</a:t>
            </a:r>
            <a:r>
              <a:rPr lang="hu-HU" sz="1200" i="1" dirty="0"/>
              <a:t>,</a:t>
            </a:r>
            <a:r>
              <a:rPr lang="de-DE" sz="1200" i="1" dirty="0"/>
              <a:t> </a:t>
            </a:r>
            <a:r>
              <a:rPr lang="de-DE" sz="1200" b="1" dirty="0"/>
              <a:t>2021</a:t>
            </a:r>
            <a:r>
              <a:rPr lang="de-DE" sz="1200" dirty="0"/>
              <a:t>, </a:t>
            </a:r>
            <a:r>
              <a:rPr lang="de-DE" sz="1200" i="1" dirty="0"/>
              <a:t>60</a:t>
            </a:r>
            <a:r>
              <a:rPr lang="de-DE" sz="1200" dirty="0"/>
              <a:t>, 19526–19549</a:t>
            </a:r>
            <a:endParaRPr lang="hu-HU" sz="120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AABEA795-E861-DD33-380C-24931A1E69E0}"/>
              </a:ext>
            </a:extLst>
          </p:cNvPr>
          <p:cNvSpPr txBox="1"/>
          <p:nvPr/>
        </p:nvSpPr>
        <p:spPr>
          <a:xfrm>
            <a:off x="7428661" y="6519446"/>
            <a:ext cx="247733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it-IT" sz="16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(Li</a:t>
            </a:r>
            <a:r>
              <a:rPr lang="it-IT" sz="1600" baseline="300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</a:t>
            </a:r>
            <a:r>
              <a:rPr lang="it-IT" sz="16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Li) = −3.28 V vs SCE</a:t>
            </a:r>
            <a:endParaRPr lang="hu-HU" sz="1600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290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CFD18-395C-8B04-5228-CBC2A5B5C9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F55E9FC-1AA5-147D-75CD-7E038D200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FC922F44-0EA4-09E5-21B9-E952EE15F881}"/>
              </a:ext>
            </a:extLst>
          </p:cNvPr>
          <p:cNvSpPr/>
          <p:nvPr/>
        </p:nvSpPr>
        <p:spPr>
          <a:xfrm>
            <a:off x="60853" y="1470430"/>
            <a:ext cx="6823025" cy="36977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molekulák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tiválása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elektron-transzfer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ET)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lyamatban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ktrontranszfer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ktivitás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redox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tenciál</a:t>
            </a:r>
            <a:endParaRPr lang="en-US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kció irányban felírt egyenletek: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b="1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kció-szabadentalpia ↔ E(M</a:t>
            </a:r>
            <a:r>
              <a:rPr lang="hu-HU" sz="20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M) és E(M/M</a:t>
            </a:r>
            <a:r>
              <a:rPr lang="hu-HU" sz="20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−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potenciálok (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rnst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egyenlet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04379C95-7D79-D902-D07F-EE3F4E7C8D11}"/>
                  </a:ext>
                </a:extLst>
              </p:cNvPr>
              <p:cNvSpPr txBox="1"/>
              <p:nvPr/>
            </p:nvSpPr>
            <p:spPr>
              <a:xfrm>
                <a:off x="1232775" y="3168995"/>
                <a:ext cx="609691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hu-HU" sz="28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M</m:t>
                      </m:r>
                    </m:oMath>
                  </m:oMathPara>
                </a14:m>
                <a:endParaRPr lang="hu-HU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04379C95-7D79-D902-D07F-EE3F4E7C8D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2775" y="3168995"/>
                <a:ext cx="6096912" cy="52322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FD9BC1F-56A2-86F6-895D-4314230C563E}"/>
                  </a:ext>
                </a:extLst>
              </p:cNvPr>
              <p:cNvSpPr txBox="1"/>
              <p:nvPr/>
            </p:nvSpPr>
            <p:spPr>
              <a:xfrm>
                <a:off x="1427415" y="3734181"/>
                <a:ext cx="609691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hu-HU" sz="28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M</m:t>
                      </m:r>
                      <m: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hu-HU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Szövegdoboz 4">
                <a:extLst>
                  <a:ext uri="{FF2B5EF4-FFF2-40B4-BE49-F238E27FC236}">
                    <a16:creationId xmlns:a16="http://schemas.microsoft.com/office/drawing/2014/main" id="{0FD9BC1F-56A2-86F6-895D-4314230C56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7415" y="3734181"/>
                <a:ext cx="6096912" cy="5232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Szövegdoboz 5">
                <a:extLst>
                  <a:ext uri="{FF2B5EF4-FFF2-40B4-BE49-F238E27FC236}">
                    <a16:creationId xmlns:a16="http://schemas.microsoft.com/office/drawing/2014/main" id="{71758C56-D496-CE88-92F4-954F69D1D0B3}"/>
                  </a:ext>
                </a:extLst>
              </p:cNvPr>
              <p:cNvSpPr txBox="1"/>
              <p:nvPr/>
            </p:nvSpPr>
            <p:spPr>
              <a:xfrm>
                <a:off x="1904544" y="5263585"/>
                <a:ext cx="609691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u-HU" sz="280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∆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hu-HU" sz="28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r>
                        <m:rPr>
                          <m:sty m:val="p"/>
                        </m:rPr>
                        <a:rPr lang="hu-HU" sz="28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zF</m:t>
                      </m:r>
                      <m:sSup>
                        <m:sSupPr>
                          <m:ctrlPr>
                            <a:rPr lang="hu-HU" sz="28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28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p>
                          <m:r>
                            <a:rPr lang="en-GB" sz="28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p>
                    </m:oMath>
                  </m:oMathPara>
                </a14:m>
                <a:endParaRPr lang="hu-HU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Szövegdoboz 5">
                <a:extLst>
                  <a:ext uri="{FF2B5EF4-FFF2-40B4-BE49-F238E27FC236}">
                    <a16:creationId xmlns:a16="http://schemas.microsoft.com/office/drawing/2014/main" id="{71758C56-D496-CE88-92F4-954F69D1D0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544" y="5263585"/>
                <a:ext cx="6096912" cy="5232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13620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4F2AB1-1644-63D3-F6A6-94FE462988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1E380EB-7A03-D7B7-22F7-046163EBC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to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atalízis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938AA600-FE60-97E8-8482-AABAABC4900C}"/>
              </a:ext>
            </a:extLst>
          </p:cNvPr>
          <p:cNvSpPr/>
          <p:nvPr/>
        </p:nvSpPr>
        <p:spPr>
          <a:xfrm>
            <a:off x="60853" y="1470430"/>
            <a:ext cx="6823025" cy="3838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molekulák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tiválása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yelektron-transzfer</a:t>
            </a:r>
            <a:r>
              <a:rPr lang="en-US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SET) </a:t>
            </a:r>
            <a:r>
              <a:rPr lang="en-US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lyamatban</a:t>
            </a:r>
            <a:endParaRPr lang="en-US" sz="2000" b="1" u="sng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an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b="1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„</a:t>
            </a:r>
            <a:r>
              <a:rPr lang="pt-B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új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”</a:t>
            </a:r>
            <a:r>
              <a:rPr lang="pt-B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ok: E(M</a:t>
            </a:r>
            <a:r>
              <a:rPr lang="pt-BR" sz="20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</a:t>
            </a:r>
            <a:r>
              <a:rPr lang="pt-B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M*) és E(M*/M</a:t>
            </a:r>
            <a:r>
              <a:rPr lang="pt-BR" sz="20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−</a:t>
            </a:r>
            <a:r>
              <a:rPr lang="pt-B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b="1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vertált energetika!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Szövegdoboz 6">
                <a:extLst>
                  <a:ext uri="{FF2B5EF4-FFF2-40B4-BE49-F238E27FC236}">
                    <a16:creationId xmlns:a16="http://schemas.microsoft.com/office/drawing/2014/main" id="{9C915F8F-DF02-0239-FFB8-1D0D8881B614}"/>
                  </a:ext>
                </a:extLst>
              </p:cNvPr>
              <p:cNvSpPr txBox="1"/>
              <p:nvPr/>
            </p:nvSpPr>
            <p:spPr>
              <a:xfrm>
                <a:off x="1426274" y="2742557"/>
                <a:ext cx="7311095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hu-HU" sz="2800" i="1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28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2800" i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hu-HU" sz="2800" i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M</m:t>
                      </m:r>
                      <m:r>
                        <a:rPr lang="en-GB" sz="2800" b="0" i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en-GB" sz="2800" b="0" i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   </m:t>
                      </m:r>
                      <m:r>
                        <a:rPr lang="en-GB" sz="2800" b="0" i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GB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</m:t>
                      </m:r>
                      <m:sSup>
                        <m:sSupPr>
                          <m:ctrlPr>
                            <a:rPr lang="hu-HU" sz="2800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2800" i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hu-HU" sz="2800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28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2800" i="0"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2800" i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2800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hu-HU" sz="28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GB" sz="2800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en-GB" sz="2800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hu-HU" sz="2800" dirty="0"/>
              </a:p>
            </p:txBody>
          </p:sp>
        </mc:Choice>
        <mc:Fallback xmlns="">
          <p:sp>
            <p:nvSpPr>
              <p:cNvPr id="7" name="Szövegdoboz 6">
                <a:extLst>
                  <a:ext uri="{FF2B5EF4-FFF2-40B4-BE49-F238E27FC236}">
                    <a16:creationId xmlns:a16="http://schemas.microsoft.com/office/drawing/2014/main" id="{9C915F8F-DF02-0239-FFB8-1D0D8881B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6274" y="2742557"/>
                <a:ext cx="7311095" cy="52322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Szövegdoboz 7">
                <a:extLst>
                  <a:ext uri="{FF2B5EF4-FFF2-40B4-BE49-F238E27FC236}">
                    <a16:creationId xmlns:a16="http://schemas.microsoft.com/office/drawing/2014/main" id="{902DDAAF-3B3A-F10F-17C7-A3A0A8AF4D53}"/>
                  </a:ext>
                </a:extLst>
              </p:cNvPr>
              <p:cNvSpPr txBox="1"/>
              <p:nvPr/>
            </p:nvSpPr>
            <p:spPr>
              <a:xfrm>
                <a:off x="1476076" y="3283138"/>
                <a:ext cx="7004466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hu-HU" sz="300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M</m:t>
                      </m:r>
                      <m:r>
                        <a:rPr lang="hu-HU" sz="3000" i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3000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30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30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3000" i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hu-HU" sz="3000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30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3000" i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GB" sz="3000" b="0" i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en-GB" sz="3000" b="0" i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GB" sz="3000" b="0" i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</m:t>
                      </m:r>
                      <m:sSup>
                        <m:sSupPr>
                          <m:ctrlPr>
                            <a:rPr lang="en-GB" sz="3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GB" sz="3000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en-GB" sz="3000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hu-HU" sz="3000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hu-HU" sz="30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3000" i="0"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hu-HU" sz="3000" i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hu-HU" sz="3000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hu-HU" sz="30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hu-HU" sz="3000" i="0"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hu-HU" sz="3000" i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hu-HU" sz="3000" dirty="0"/>
              </a:p>
            </p:txBody>
          </p:sp>
        </mc:Choice>
        <mc:Fallback xmlns="">
          <p:sp>
            <p:nvSpPr>
              <p:cNvPr id="8" name="Szövegdoboz 7">
                <a:extLst>
                  <a:ext uri="{FF2B5EF4-FFF2-40B4-BE49-F238E27FC236}">
                    <a16:creationId xmlns:a16="http://schemas.microsoft.com/office/drawing/2014/main" id="{902DDAAF-3B3A-F10F-17C7-A3A0A8AF4D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76076" y="3283138"/>
                <a:ext cx="7004466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33884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95F8F0-B5B6-376D-515B-77A08E65EA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34F0320-1723-C8E1-ED64-CC9EB919E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él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8A7262CB-E6ED-DA42-D065-0B6974FA01AA}"/>
              </a:ext>
            </a:extLst>
          </p:cNvPr>
          <p:cNvSpPr/>
          <p:nvPr/>
        </p:nvSpPr>
        <p:spPr>
          <a:xfrm>
            <a:off x="60854" y="1470430"/>
            <a:ext cx="5831441" cy="2811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72888">
              <a:spcBef>
                <a:spcPts val="1100"/>
              </a:spcBef>
              <a:buClr>
                <a:srgbClr val="7373FF"/>
              </a:buClr>
              <a:defRPr sz="1992"/>
            </a:pPr>
            <a:r>
              <a:rPr lang="hu-HU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jesztett </a:t>
            </a:r>
            <a:r>
              <a:rPr lang="hu-HU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apotbeli</a:t>
            </a:r>
            <a:r>
              <a:rPr lang="hu-HU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2000" b="1" u="sng" dirty="0" err="1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000" b="1" u="sng" dirty="0">
                <a:solidFill>
                  <a:srgbClr val="0000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 számolás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ét komponens: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+mj-lt"/>
              <a:buAutoNum type="alphaLcParenR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  <a:p>
            <a:pPr marL="914400" lvl="1" indent="-457200" defTabSz="372888">
              <a:spcBef>
                <a:spcPts val="1100"/>
              </a:spcBef>
              <a:buClr>
                <a:srgbClr val="7373FF"/>
              </a:buClr>
              <a:buFont typeface="+mj-lt"/>
              <a:buAutoNum type="alphaLcParenR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0 átmenet energiája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FT számára ez két nagyban </a:t>
            </a:r>
            <a:b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ülönböző kihívás → benchmark</a:t>
            </a:r>
          </a:p>
        </p:txBody>
      </p:sp>
      <p:pic>
        <p:nvPicPr>
          <p:cNvPr id="3" name="Kép 2" descr="A képen szöveg, diagram, sor, Diagram látható&#10;&#10;Automatikusan generált leírás">
            <a:extLst>
              <a:ext uri="{FF2B5EF4-FFF2-40B4-BE49-F238E27FC236}">
                <a16:creationId xmlns:a16="http://schemas.microsoft.com/office/drawing/2014/main" id="{FCA1A464-195A-0D96-5011-EBDFD8570E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750" y="1928110"/>
            <a:ext cx="5486453" cy="4716000"/>
          </a:xfrm>
          <a:prstGeom prst="rect">
            <a:avLst/>
          </a:prstGeom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50CFC8DB-9869-50D3-9EB3-02F11080C6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282196"/>
            <a:ext cx="4050914" cy="2575804"/>
          </a:xfrm>
          <a:prstGeom prst="rect">
            <a:avLst/>
          </a:prstGeom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2573F435-0410-1189-176E-B7152C9B8A85}"/>
              </a:ext>
            </a:extLst>
          </p:cNvPr>
          <p:cNvSpPr txBox="1"/>
          <p:nvPr/>
        </p:nvSpPr>
        <p:spPr>
          <a:xfrm>
            <a:off x="1689075" y="6134986"/>
            <a:ext cx="2684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GB" sz="1600" baseline="-2500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,0</a:t>
            </a:r>
            <a:r>
              <a:rPr lang="en-GB" sz="160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0-0 </a:t>
            </a:r>
            <a:r>
              <a:rPr lang="en-GB" sz="1600" dirty="0" err="1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tmenet</a:t>
            </a:r>
            <a:r>
              <a:rPr lang="en-GB" sz="160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600" dirty="0" err="1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iája</a:t>
            </a:r>
            <a:endParaRPr lang="hu-HU" sz="1600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536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CECCA0-1A2E-D671-953F-3BAFC235F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2703A93-1C26-7A9E-E523-2645164A2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apállapoti </a:t>
            </a:r>
            <a:r>
              <a:rPr lang="hu-HU" sz="2800" dirty="0" err="1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ox</a:t>
            </a:r>
            <a:r>
              <a:rPr lang="hu-HU" sz="2800" dirty="0">
                <a:solidFill>
                  <a:srgbClr val="7373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otenciál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B442AF37-42AD-DF95-19E3-A9063220025A}"/>
              </a:ext>
            </a:extLst>
          </p:cNvPr>
          <p:cNvSpPr/>
          <p:nvPr/>
        </p:nvSpPr>
        <p:spPr>
          <a:xfrm>
            <a:off x="60854" y="1470430"/>
            <a:ext cx="5831441" cy="174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kció-szabadentalpia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olá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ometria optimálások + frekvencia számítás</a:t>
            </a: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tenciál (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CE) </a:t>
            </a:r>
            <a:r>
              <a:rPr lang="hu-HU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rnst</a:t>
            </a:r>
            <a:r>
              <a:rPr lang="hu-H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egyenletből</a:t>
            </a:r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  <a:endParaRPr lang="hu-HU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defTabSz="372888">
              <a:spcBef>
                <a:spcPts val="1100"/>
              </a:spcBef>
              <a:buClr>
                <a:srgbClr val="7373FF"/>
              </a:buClr>
              <a:buFont typeface="Wingdings" panose="05000000000000000000" pitchFamily="2" charset="2"/>
              <a:buChar char="§"/>
              <a:defRPr sz="1992"/>
            </a:pPr>
            <a:endParaRPr lang="hu-HU" sz="2000" b="1" dirty="0">
              <a:solidFill>
                <a:srgbClr val="0000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552DD649-8157-D948-BBBD-5D392D693E6B}"/>
                  </a:ext>
                </a:extLst>
              </p:cNvPr>
              <p:cNvSpPr txBox="1"/>
              <p:nvPr/>
            </p:nvSpPr>
            <p:spPr>
              <a:xfrm>
                <a:off x="1638933" y="3217062"/>
                <a:ext cx="6481483" cy="853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hu-HU" sz="2400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𝑜</m:t>
                          </m:r>
                          <m:f>
                            <m:fPr>
                              <m:type m:val="lin"/>
                              <m:ctrlPr>
                                <a:rPr lang="hu-HU" sz="2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hu-HU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>
                                <a:rPr lang="hu-HU" sz="24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den>
                          </m:f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𝑒𝑑</m:t>
                          </m:r>
                          <m:r>
                            <a:rPr lang="hu-HU" sz="2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𝑆</m:t>
                          </m:r>
                        </m:sub>
                        <m:sup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𝑆𝐶𝐸</m:t>
                          </m:r>
                        </m:sup>
                      </m:sSubSup>
                      <m:r>
                        <a:rPr lang="hu-HU" sz="24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hu-HU" sz="24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hu-HU" sz="24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hu-HU" sz="2400" i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∆</m:t>
                              </m:r>
                            </m:e>
                            <m:sub>
                              <m: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sub>
                          </m:sSub>
                          <m:sSub>
                            <m:sSubPr>
                              <m:ctrlP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𝑜</m:t>
                              </m:r>
                              <m:f>
                                <m:fPr>
                                  <m:type m:val="lin"/>
                                  <m:ctrlPr>
                                    <a:rPr lang="hu-HU" sz="24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hu-HU" sz="24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num>
                                <m:den>
                                  <m:r>
                                    <a:rPr lang="hu-HU" sz="24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den>
                              </m:f>
                              <m: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𝑒𝑑</m:t>
                              </m:r>
                              <m:r>
                                <a:rPr lang="hu-HU" sz="2400" i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hu-HU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hu-HU" sz="24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hu-HU" sz="24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hu-HU" sz="24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sub>
                          </m:sSub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𝐹</m:t>
                          </m:r>
                        </m:den>
                      </m:f>
                      <m:r>
                        <a:rPr lang="hu-HU" sz="2400" i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hu-HU" sz="24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𝑆𝐶𝐸</m:t>
                          </m:r>
                          <m:r>
                            <a:rPr lang="hu-HU" sz="2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𝑎𝑞</m:t>
                          </m:r>
                        </m:sub>
                        <m:sup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𝑎𝑏𝑠</m:t>
                          </m:r>
                        </m:sup>
                      </m:sSubSup>
                      <m:r>
                        <a:rPr lang="hu-HU" sz="24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hu-HU" sz="24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hu-HU" sz="2400" i="1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hu-HU" sz="2400" dirty="0"/>
              </a:p>
            </p:txBody>
          </p:sp>
        </mc:Choice>
        <mc:Fallback xmlns="">
          <p:sp>
            <p:nvSpPr>
              <p:cNvPr id="3" name="Szövegdoboz 2">
                <a:extLst>
                  <a:ext uri="{FF2B5EF4-FFF2-40B4-BE49-F238E27FC236}">
                    <a16:creationId xmlns:a16="http://schemas.microsoft.com/office/drawing/2014/main" id="{552DD649-8157-D948-BBBD-5D392D693E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8933" y="3217062"/>
                <a:ext cx="6481483" cy="853439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55161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. %m. %d.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6.86189403910000095266E+00&quot;&gt;&lt;m_msothmcolidx val=&quot;0&quot;/&gt;&lt;m_rgb r=&quot;F2&quot; g=&quot;C6&quot; b=&quot;1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50391;14.87504;15;29.87504;30;45;45.12504;59.87504;"/>
  <p:tag name="VCT-BULLETVISIBILITY" val="G ****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50391;14.87504;15;29.87504;30;45;45.12504;59.87504;"/>
  <p:tag name="VCT-BULLETVISIBILITY" val="G 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50391;14.87504;15;29.87504;30;45;45.12504;59.87504;"/>
  <p:tag name="VCT-BULLETVISIBILITY" val="G ****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heme/theme1.xml><?xml version="1.0" encoding="utf-8"?>
<a:theme xmlns:a="http://schemas.openxmlformats.org/drawingml/2006/main" name="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  <a:extLst>
    <a:ext uri="{05A4C25C-085E-4340-85A3-A5531E510DB2}">
      <thm15:themeFamily xmlns:thm15="http://schemas.microsoft.com/office/thememl/2012/main" name="IFUA" id="{788A8339-BE42-4D95-B3A3-C5FB10481625}" vid="{96D296F1-1144-4C3A-90AF-4A27F726C8D7}"/>
    </a:ext>
  </a:extLst>
</a:theme>
</file>

<file path=ppt/theme/theme2.xml><?xml version="1.0" encoding="utf-8"?>
<a:theme xmlns:a="http://schemas.openxmlformats.org/drawingml/2006/main" name="Prez_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</a:theme>
</file>

<file path=ppt/theme/theme3.xml><?xml version="1.0" encoding="utf-8"?>
<a:theme xmlns:a="http://schemas.openxmlformats.org/drawingml/2006/main" name="1_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  <a:extLst>
    <a:ext uri="{05A4C25C-085E-4340-85A3-A5531E510DB2}">
      <thm15:themeFamily xmlns:thm15="http://schemas.microsoft.com/office/thememl/2012/main" name="IFUA" id="{788A8339-BE42-4D95-B3A3-C5FB10481625}" vid="{96D296F1-1144-4C3A-90AF-4A27F726C8D7}"/>
    </a:ext>
  </a:ext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qs:outline xmlns:qs="urn:strategyCompass:quickSlide:basic:outlineSlide:2014">
  <qs:id>401</qs:id>
  <qs:title>Szakmai ajánlat</qs:title>
  <qs:number/>
  <qs:position>1</qs:position>
  <qs:level>0</qs:level>
</qs:outline>
</file>

<file path=customXml/item2.xml><?xml version="1.0" encoding="utf-8"?>
<qs:outline xmlns:qs="urn:strategyCompass:quickSlide:basic:outlineSlide:2014">
  <qs:id>402</qs:id>
  <qs:title>Pénzügyi ajánlat</qs:title>
  <qs:number/>
  <qs:position>2</qs:position>
  <qs:level>0</qs:level>
</qs:outline>
</file>

<file path=customXml/item3.xml><?xml version="1.0" encoding="utf-8"?>
<qs:outline xmlns:qs="urn:strategyCompass:quickSlide:basic:outline:2014">
  <qs:settings>
    <qs:designID>QuickSlideAgenda18_4_3</qs:designID>
    <qs:numberingChecked>False</qs:numberingChecked>
    <qs:subNumberingChecked>False</qs:subNumberingChecked>
    <qs:pagesNumberChecked>False</qs:pagesNumberChecked>
    <qs:topicsChecked>True</qs:topicsChecked>
    <qs:overviewChecked>False</qs:overviewChecked>
    <qs:chapterNumberOnSlidesChecked>False</qs:chapterNumberOnSlidesChecked>
    <qs:chapterNameOnSlidesChecked>False</qs:chapterNameOnSlidesChecked>
    <qs:autoUpdateChecked>False</qs:autoUpdateChecked>
    <qs:subChaptersOnlyOnActiveChapter>True</qs:subChaptersOnlyOnActiveChapter>
    <qs:separatorOnlyActiveChapterChecked>False</qs:separatorOnlyActiveChapterChecked>
    <qs:overviewWithSubchaptersChecked>False</qs:overviewWithSubchaptersChecked>
    <qs:sectionsChecked>False</qs:sectionsChecked>
    <qs:navigationChecked>False</qs:navigationChecked>
    <qs:linkChecked>False</qs:linkChecked>
  </qs:settings>
  <qs:title>Tartalom</qs:title>
  <qs:overviewpage/>
  <qs:chapter>
    <qs:id>529</qs:id>
    <qs:title>Előzmények</qs:title>
    <qs:navText/>
    <qs:number/>
    <qs:position>1</qs:position>
    <qs:level>0</qs:level>
    <qs:pageNr>2</qs:pageNr>
  </qs:chapter>
  <qs:chapter>
    <qs:id>530</qs:id>
    <qs:title>A kiválasztott szervezetek</qs:title>
    <qs:navText/>
    <qs:number/>
    <qs:position>2</qs:position>
    <qs:level>0</qs:level>
    <qs:pageNr>6</qs:pageNr>
  </qs:chapter>
</qs:outline>
</file>

<file path=customXml/itemProps1.xml><?xml version="1.0" encoding="utf-8"?>
<ds:datastoreItem xmlns:ds="http://schemas.openxmlformats.org/officeDocument/2006/customXml" ds:itemID="{B0723AE6-1846-4385-84E0-00BC5FD4B489}">
  <ds:schemaRefs>
    <ds:schemaRef ds:uri="urn:strategyCompass:quickSlide:basic:outlineSlide:2014"/>
  </ds:schemaRefs>
</ds:datastoreItem>
</file>

<file path=customXml/itemProps2.xml><?xml version="1.0" encoding="utf-8"?>
<ds:datastoreItem xmlns:ds="http://schemas.openxmlformats.org/officeDocument/2006/customXml" ds:itemID="{C924DB06-701B-490A-BACA-F02FD86703DF}">
  <ds:schemaRefs>
    <ds:schemaRef ds:uri="urn:strategyCompass:quickSlide:basic:outlineSlide:2014"/>
  </ds:schemaRefs>
</ds:datastoreItem>
</file>

<file path=customXml/itemProps3.xml><?xml version="1.0" encoding="utf-8"?>
<ds:datastoreItem xmlns:ds="http://schemas.openxmlformats.org/officeDocument/2006/customXml" ds:itemID="{D15DDE94-899B-45DC-815F-1D5E7AD42A52}">
  <ds:schemaRefs>
    <ds:schemaRef ds:uri="urn:strategyCompass:quickSlide:basic:outline:201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FUA</Template>
  <TotalTime>17198</TotalTime>
  <Words>997</Words>
  <Application>Microsoft Office PowerPoint</Application>
  <PresentationFormat>A4 (210x297 mm)</PresentationFormat>
  <Paragraphs>210</Paragraphs>
  <Slides>33</Slides>
  <Notes>2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8</vt:i4>
      </vt:variant>
      <vt:variant>
        <vt:lpstr>Téma</vt:lpstr>
      </vt:variant>
      <vt:variant>
        <vt:i4>3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3</vt:i4>
      </vt:variant>
    </vt:vector>
  </HeadingPairs>
  <TitlesOfParts>
    <vt:vector size="46" baseType="lpstr">
      <vt:lpstr>Arial</vt:lpstr>
      <vt:lpstr>Calibri</vt:lpstr>
      <vt:lpstr>Cambria Math</vt:lpstr>
      <vt:lpstr>Corporate E</vt:lpstr>
      <vt:lpstr>Corporate E Demi</vt:lpstr>
      <vt:lpstr>Open Sans</vt:lpstr>
      <vt:lpstr>Times New Roman</vt:lpstr>
      <vt:lpstr>Wingdings</vt:lpstr>
      <vt:lpstr>IFUA</vt:lpstr>
      <vt:lpstr>Prez_IFUA</vt:lpstr>
      <vt:lpstr>1_IFUA</vt:lpstr>
      <vt:lpstr>think-cell Slide</vt:lpstr>
      <vt:lpstr>CS ChemDraw Drawing</vt:lpstr>
      <vt:lpstr>PowerPoint-bemutató</vt:lpstr>
      <vt:lpstr>Tartalom</vt:lpstr>
      <vt:lpstr>Fotoredox katalízis</vt:lpstr>
      <vt:lpstr>Fotoredox katalízis</vt:lpstr>
      <vt:lpstr>Fotoredox katalízis</vt:lpstr>
      <vt:lpstr>Fotoredox katalízis</vt:lpstr>
      <vt:lpstr>Fotoredox katalízis</vt:lpstr>
      <vt:lpstr>Cél</vt:lpstr>
      <vt:lpstr>Alapállapoti redox potenciál</vt:lpstr>
      <vt:lpstr>Alapállapoti redox potenciál</vt:lpstr>
      <vt:lpstr>Alapállapoti redox potenciál</vt:lpstr>
      <vt:lpstr>Alapállapoti redox potenciál</vt:lpstr>
      <vt:lpstr>Alapállapoti redox potenciál</vt:lpstr>
      <vt:lpstr>Alapállapoti redox potenciál</vt:lpstr>
      <vt:lpstr>Alapállapoti redox potenciál</vt:lpstr>
      <vt:lpstr>0-0 átmenet energiája</vt:lpstr>
      <vt:lpstr>0-0 átmenet energiája</vt:lpstr>
      <vt:lpstr>0-0 átmenet energiája</vt:lpstr>
      <vt:lpstr>0-0 átmenet energiája</vt:lpstr>
      <vt:lpstr>0-0 átmenet energiája</vt:lpstr>
      <vt:lpstr>0-0 átmenet energiája</vt:lpstr>
      <vt:lpstr>Gerjesztett állapotbeli potenciálok</vt:lpstr>
      <vt:lpstr>Gerjesztett állapotbeli potenciálok</vt:lpstr>
      <vt:lpstr>Gerjesztett állapotbeli potenciálok</vt:lpstr>
      <vt:lpstr>Gerjesztett állapotbeli potenciálok</vt:lpstr>
      <vt:lpstr>Gerjesztett állapotbeli potenciálok</vt:lpstr>
      <vt:lpstr>ML modell</vt:lpstr>
      <vt:lpstr>ML modell</vt:lpstr>
      <vt:lpstr>Legjobb modell</vt:lpstr>
      <vt:lpstr>Legjobb modell</vt:lpstr>
      <vt:lpstr>Legjobb modell</vt:lpstr>
      <vt:lpstr>Összefoglalás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ncellári adatgyűjtés és jelentéskészítés</dc:title>
  <dc:creator>Mezei Szabolcs</dc:creator>
  <cp:lastModifiedBy>Péter Fehér</cp:lastModifiedBy>
  <cp:revision>715</cp:revision>
  <cp:lastPrinted>2017-12-14T12:58:23Z</cp:lastPrinted>
  <dcterms:created xsi:type="dcterms:W3CDTF">2014-12-04T06:58:03Z</dcterms:created>
  <dcterms:modified xsi:type="dcterms:W3CDTF">2024-03-07T22:35:51Z</dcterms:modified>
</cp:coreProperties>
</file>